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86" r:id="rId1"/>
  </p:sldMasterIdLst>
  <p:notesMasterIdLst>
    <p:notesMasterId r:id="rId30"/>
  </p:notesMasterIdLst>
  <p:sldIdLst>
    <p:sldId id="256" r:id="rId2"/>
    <p:sldId id="285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71" r:id="rId12"/>
    <p:sldId id="266" r:id="rId13"/>
    <p:sldId id="267" r:id="rId14"/>
    <p:sldId id="268" r:id="rId15"/>
    <p:sldId id="278" r:id="rId16"/>
    <p:sldId id="269" r:id="rId17"/>
    <p:sldId id="281" r:id="rId18"/>
    <p:sldId id="279" r:id="rId19"/>
    <p:sldId id="282" r:id="rId20"/>
    <p:sldId id="280" r:id="rId21"/>
    <p:sldId id="283" r:id="rId22"/>
    <p:sldId id="287" r:id="rId23"/>
    <p:sldId id="288" r:id="rId24"/>
    <p:sldId id="289" r:id="rId25"/>
    <p:sldId id="290" r:id="rId26"/>
    <p:sldId id="291" r:id="rId27"/>
    <p:sldId id="292" r:id="rId28"/>
    <p:sldId id="293" r:id="rId29"/>
  </p:sldIdLst>
  <p:sldSz cx="9906000" cy="6858000" type="A4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24">
          <p15:clr>
            <a:srgbClr val="A4A3A4"/>
          </p15:clr>
        </p15:guide>
        <p15:guide id="2" orient="horz" pos="4182">
          <p15:clr>
            <a:srgbClr val="A4A3A4"/>
          </p15:clr>
        </p15:guide>
        <p15:guide id="3" pos="180">
          <p15:clr>
            <a:srgbClr val="A4A3A4"/>
          </p15:clr>
        </p15:guide>
        <p15:guide id="4" pos="6078">
          <p15:clr>
            <a:srgbClr val="A4A3A4"/>
          </p15:clr>
        </p15:guide>
        <p15:guide id="5" orient="horz" pos="2160">
          <p15:clr>
            <a:srgbClr val="A4A3A4"/>
          </p15:clr>
        </p15:guide>
        <p15:guide id="6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15" autoAdjust="0"/>
    <p:restoredTop sz="94660"/>
  </p:normalViewPr>
  <p:slideViewPr>
    <p:cSldViewPr snapToObjects="1">
      <p:cViewPr varScale="1">
        <p:scale>
          <a:sx n="112" d="100"/>
          <a:sy n="112" d="100"/>
        </p:scale>
        <p:origin x="1086" y="102"/>
      </p:cViewPr>
      <p:guideLst>
        <p:guide orient="horz" pos="624"/>
        <p:guide orient="horz" pos="4182"/>
        <p:guide pos="180"/>
        <p:guide pos="6078"/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302F55-9D5C-472A-8A0D-EE0D0B932313}" type="datetimeFigureOut">
              <a:rPr lang="ru-RU" smtClean="0"/>
              <a:t>15.04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706B3D-0CBE-4F6F-A760-DF4E5CAF7E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31126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130801" y="1991788"/>
            <a:ext cx="5582235" cy="1426895"/>
          </a:xfrm>
        </p:spPr>
        <p:txBody>
          <a:bodyPr tIns="0" rIns="0" bIns="0"/>
          <a:lstStyle>
            <a:lvl1pPr algn="l">
              <a:defRPr sz="24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130819" y="4170872"/>
            <a:ext cx="5582523" cy="935966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126" y="1034091"/>
            <a:ext cx="3456989" cy="465934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839" y="446450"/>
            <a:ext cx="1644322" cy="310743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4011855" y="6022681"/>
            <a:ext cx="155844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500" b="1" dirty="0">
                <a:solidFill>
                  <a:schemeClr val="accent1"/>
                </a:solidFill>
              </a:rPr>
              <a:t>ООО «СИБУР»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0" y="6189205"/>
            <a:ext cx="4011855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 flipV="1">
            <a:off x="5570295" y="6184264"/>
            <a:ext cx="4320000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130839" y="5271294"/>
            <a:ext cx="5575135" cy="582613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47301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19" indent="0">
              <a:buNone/>
              <a:defRPr sz="2800"/>
            </a:lvl2pPr>
            <a:lvl3pPr marL="914239" indent="0">
              <a:buNone/>
              <a:defRPr sz="2400"/>
            </a:lvl3pPr>
            <a:lvl4pPr marL="1371358" indent="0">
              <a:buNone/>
              <a:defRPr sz="2000"/>
            </a:lvl4pPr>
            <a:lvl5pPr marL="1828477" indent="0">
              <a:buNone/>
              <a:defRPr sz="2000"/>
            </a:lvl5pPr>
            <a:lvl6pPr marL="2285596" indent="0">
              <a:buNone/>
              <a:defRPr sz="2000"/>
            </a:lvl6pPr>
            <a:lvl7pPr marL="2742716" indent="0">
              <a:buNone/>
              <a:defRPr sz="2000"/>
            </a:lvl7pPr>
            <a:lvl8pPr marL="3199835" indent="0">
              <a:buNone/>
              <a:defRPr sz="2000"/>
            </a:lvl8pPr>
            <a:lvl9pPr marL="3656954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6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10294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663305" y="1800535"/>
            <a:ext cx="3197734" cy="290195"/>
          </a:xfrm>
        </p:spPr>
        <p:txBody>
          <a:bodyPr/>
          <a:lstStyle>
            <a:lvl1pPr>
              <a:defRPr kumimoji="0" lang="ru-RU" sz="24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Прямая соединительная линия 14"/>
          <p:cNvCxnSpPr>
            <a:cxnSpLocks/>
          </p:cNvCxnSpPr>
          <p:nvPr userDrawn="1"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Прямая соединительная линия 15"/>
          <p:cNvCxnSpPr>
            <a:cxnSpLocks/>
          </p:cNvCxnSpPr>
          <p:nvPr userDrawn="1"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Дата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87725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223781" y="1146143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1223781" y="3045905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1223781" y="4811682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2824667" y="127322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2824667" y="152468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1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824667" y="312488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2824667" y="337634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3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2824667" y="494606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2824667" y="519752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Прямая соединительная линия 19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Прямая соединительная линия 24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единительная линия 25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Прямая соединительная линия 26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 userDrawn="1"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75424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112087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3887323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6749273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1133893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1133893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3816710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5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3816710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6749692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8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6749692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единительная линия 21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Прямая соединительная линия 22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Прямая соединительная линия 23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 userDrawn="1"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02788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57085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185750"/>
            <a:ext cx="2228850" cy="594518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86596" y="185750"/>
            <a:ext cx="6430154" cy="594518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xfrm rot="5400000">
            <a:off x="9667" y="6405385"/>
            <a:ext cx="406577" cy="311150"/>
          </a:xfrm>
          <a:ln/>
        </p:spPr>
        <p:txBody>
          <a:bodyPr/>
          <a:lstStyle>
            <a:lvl1pPr>
              <a:defRPr/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1"/>
          </p:nvPr>
        </p:nvSpPr>
        <p:spPr>
          <a:xfrm rot="5400000">
            <a:off x="-167128" y="4319045"/>
            <a:ext cx="813998" cy="234231"/>
          </a:xfrm>
        </p:spPr>
        <p:txBody>
          <a:bodyPr/>
          <a:lstStyle/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>
          <a:xfrm rot="5400000">
            <a:off x="-1220315" y="1512118"/>
            <a:ext cx="3136900" cy="500702"/>
          </a:xfrm>
        </p:spPr>
        <p:txBody>
          <a:bodyPr/>
          <a:lstStyle/>
          <a:p>
            <a:r>
              <a:rPr lang="en-US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Excel: </a:t>
            </a:r>
            <a:r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Анализ данных</a:t>
            </a:r>
            <a:endParaRPr lang="ru-RU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 rot="5400000">
            <a:off x="-2423484" y="3959546"/>
            <a:ext cx="5419725" cy="377185"/>
            <a:chOff x="4486275" y="6431621"/>
            <a:chExt cx="5419725" cy="377185"/>
          </a:xfrm>
        </p:grpSpPr>
        <p:pic>
          <p:nvPicPr>
            <p:cNvPr id="7" name="Изображение 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8" name="Прямая соединительная линия 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11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69213" y="5501957"/>
            <a:ext cx="1203999" cy="270000"/>
          </a:xfrm>
          <a:prstGeom prst="rect">
            <a:avLst/>
          </a:prstGeom>
        </p:spPr>
      </p:pic>
      <p:pic>
        <p:nvPicPr>
          <p:cNvPr id="14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69213" y="5501957"/>
            <a:ext cx="1203999" cy="270000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 rot="5400000">
            <a:off x="-2423484" y="3959545"/>
            <a:ext cx="5419725" cy="377185"/>
            <a:chOff x="4486275" y="6431621"/>
            <a:chExt cx="5419725" cy="377185"/>
          </a:xfrm>
        </p:grpSpPr>
        <p:pic>
          <p:nvPicPr>
            <p:cNvPr id="13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5" name="Прямая соединительная линия 14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6" name="Группа 15"/>
          <p:cNvGrpSpPr/>
          <p:nvPr userDrawn="1"/>
        </p:nvGrpSpPr>
        <p:grpSpPr>
          <a:xfrm rot="5400000">
            <a:off x="-2423484" y="3959545"/>
            <a:ext cx="5419725" cy="377185"/>
            <a:chOff x="4486275" y="6431621"/>
            <a:chExt cx="5419725" cy="377185"/>
          </a:xfrm>
        </p:grpSpPr>
        <p:pic>
          <p:nvPicPr>
            <p:cNvPr id="17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8" name="Прямая соединительная линия 1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2118640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1001907" y="6474596"/>
            <a:ext cx="5938291" cy="31265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0" baseline="0">
                <a:solidFill>
                  <a:srgbClr val="0D9195"/>
                </a:solidFill>
                <a:latin typeface="Arial"/>
                <a:cs typeface="Arial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smtClean="0"/>
              <a:t>НАЗВАНИЕ ПРЕЗЕНТАЦИИ</a:t>
            </a:r>
            <a:r>
              <a:rPr lang="en-US" dirty="0" smtClean="0"/>
              <a:t>, </a:t>
            </a:r>
            <a:r>
              <a:rPr lang="ru-RU" dirty="0" smtClean="0"/>
              <a:t>МЕРОПРИЯТИЕ</a:t>
            </a:r>
            <a:r>
              <a:rPr lang="en-US" dirty="0" smtClean="0"/>
              <a:t>, </a:t>
            </a:r>
            <a:r>
              <a:rPr lang="ru-RU" dirty="0" smtClean="0"/>
              <a:t>ДАТА</a:t>
            </a:r>
            <a:endParaRPr lang="en-US" dirty="0" smtClean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9"/>
          </p:nvPr>
        </p:nvSpPr>
        <p:spPr>
          <a:xfrm>
            <a:off x="1906932" y="2145733"/>
            <a:ext cx="5391358" cy="2636223"/>
          </a:xfrm>
          <a:prstGeom prst="rect">
            <a:avLst/>
          </a:prstGeom>
        </p:spPr>
        <p:txBody>
          <a:bodyPr vert="horz" anchor="ctr"/>
          <a:lstStyle>
            <a:lvl1pPr marL="514350" indent="-514350">
              <a:buFont typeface="+mj-lt"/>
              <a:buAutoNum type="arabicPeriod"/>
              <a:defRPr sz="1500">
                <a:solidFill>
                  <a:srgbClr val="0D9195"/>
                </a:solidFill>
              </a:defRPr>
            </a:lvl1pPr>
            <a:lvl2pPr marL="1008903" indent="-514350">
              <a:buFont typeface="+mj-lt"/>
              <a:buAutoNum type="arabicPeriod"/>
              <a:defRPr sz="1200">
                <a:solidFill>
                  <a:srgbClr val="0D9195"/>
                </a:solidFill>
              </a:defRPr>
            </a:lvl2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" name="Текст 10"/>
          <p:cNvSpPr>
            <a:spLocks noGrp="1"/>
          </p:cNvSpPr>
          <p:nvPr>
            <p:ph type="body" sz="quarter" idx="20" hasCustomPrompt="1"/>
          </p:nvPr>
        </p:nvSpPr>
        <p:spPr>
          <a:xfrm>
            <a:off x="7444843" y="2145733"/>
            <a:ext cx="1170595" cy="2636223"/>
          </a:xfrm>
          <a:prstGeom prst="rect">
            <a:avLst/>
          </a:prstGeom>
        </p:spPr>
        <p:txBody>
          <a:bodyPr vert="horz" anchor="ctr"/>
          <a:lstStyle>
            <a:lvl1pPr marL="0" indent="0" algn="r">
              <a:buFont typeface="+mj-lt"/>
              <a:buNone/>
              <a:defRPr sz="1500">
                <a:solidFill>
                  <a:srgbClr val="0D9195"/>
                </a:solidFill>
              </a:defRPr>
            </a:lvl1pPr>
            <a:lvl2pPr marL="1008903" indent="-514350">
              <a:buFont typeface="+mj-lt"/>
              <a:buAutoNum type="arabicPeriod"/>
              <a:defRPr sz="1200">
                <a:solidFill>
                  <a:srgbClr val="0D9195"/>
                </a:solidFill>
              </a:defRPr>
            </a:lvl2pPr>
          </a:lstStyle>
          <a:p>
            <a:pPr lvl="0"/>
            <a:r>
              <a:rPr lang="ru-RU" dirty="0" smtClean="0"/>
              <a:t>1</a:t>
            </a:r>
          </a:p>
          <a:p>
            <a:pPr lvl="0"/>
            <a:r>
              <a:rPr lang="ru-RU" dirty="0" smtClean="0"/>
              <a:t>2</a:t>
            </a:r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595008" y="185052"/>
            <a:ext cx="8736687" cy="498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 spc="0" baseline="0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smtClean="0"/>
              <a:t>Укажите название слайда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242839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82887" y="1080316"/>
            <a:ext cx="8729577" cy="361003"/>
          </a:xfrm>
          <a:prstGeom prst="rect">
            <a:avLst/>
          </a:prstGeom>
          <a:effectLst/>
        </p:spPr>
        <p:txBody>
          <a:bodyPr/>
          <a:lstStyle>
            <a:lvl1pPr marL="0" indent="0">
              <a:buNone/>
              <a:defRPr sz="1500" b="1" baseline="0">
                <a:solidFill>
                  <a:srgbClr val="0D9195"/>
                </a:solidFill>
                <a:latin typeface="Arial"/>
                <a:cs typeface="Arial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smtClean="0"/>
              <a:t>Укажите заголовок</a:t>
            </a:r>
            <a:endParaRPr lang="en-US" dirty="0" smtClean="0"/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582887" y="1451909"/>
            <a:ext cx="8729577" cy="45878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0" baseline="0">
                <a:solidFill>
                  <a:schemeClr val="tx1"/>
                </a:solidFill>
                <a:latin typeface="Times New Roman"/>
                <a:cs typeface="Times New Roman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smtClean="0"/>
              <a:t>Напишите текст слайда</a:t>
            </a:r>
            <a:endParaRPr lang="en-US" dirty="0" smtClean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1506550" y="6440092"/>
            <a:ext cx="5938291" cy="3126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baseline="0">
                <a:solidFill>
                  <a:srgbClr val="0D9195"/>
                </a:solidFill>
                <a:latin typeface="Arial"/>
                <a:cs typeface="Arial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smtClean="0"/>
              <a:t>НАЗВАНИЕ ПРЕЗЕНТАЦИИ</a:t>
            </a:r>
            <a:r>
              <a:rPr lang="en-US" dirty="0" smtClean="0"/>
              <a:t>, </a:t>
            </a:r>
            <a:r>
              <a:rPr lang="ru-RU" dirty="0" smtClean="0"/>
              <a:t>МЕРОПРИЯТИЕ</a:t>
            </a:r>
            <a:r>
              <a:rPr lang="en-US" dirty="0" smtClean="0"/>
              <a:t>, </a:t>
            </a:r>
            <a:r>
              <a:rPr lang="ru-RU" dirty="0" smtClean="0"/>
              <a:t>ДАТА</a:t>
            </a:r>
            <a:endParaRPr lang="en-US" dirty="0" smtClean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595006" y="185049"/>
            <a:ext cx="8736687" cy="498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 spc="0" baseline="0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smtClean="0"/>
              <a:t>Укажите название слайда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22752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-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130801" y="1991788"/>
            <a:ext cx="5582235" cy="1426895"/>
          </a:xfrm>
        </p:spPr>
        <p:txBody>
          <a:bodyPr tIns="0" rIns="0" bIns="0"/>
          <a:lstStyle>
            <a:lvl1pPr algn="l">
              <a:defRPr sz="24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130819" y="4170873"/>
            <a:ext cx="5582523" cy="935966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126" y="1034091"/>
            <a:ext cx="3456989" cy="465934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839" y="446450"/>
            <a:ext cx="1644322" cy="310743"/>
          </a:xfrm>
          <a:prstGeom prst="rect">
            <a:avLst/>
          </a:prstGeom>
        </p:spPr>
      </p:pic>
      <p:sp>
        <p:nvSpPr>
          <p:cNvPr id="1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130839" y="5271294"/>
            <a:ext cx="5575135" cy="582613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4008036" y="6022681"/>
            <a:ext cx="238366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500" b="1" dirty="0" smtClean="0">
                <a:solidFill>
                  <a:schemeClr val="accent1"/>
                </a:solidFill>
              </a:rPr>
              <a:t>ПАО «СИБУР Холдинг»</a:t>
            </a:r>
            <a:endParaRPr lang="ru-RU" sz="1500" b="1" dirty="0">
              <a:solidFill>
                <a:schemeClr val="accent1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0" y="6189205"/>
            <a:ext cx="4011855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>
            <a:off x="6391702" y="6184264"/>
            <a:ext cx="3514298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34889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545807"/>
              </p:ext>
            </p:extLst>
          </p:nvPr>
        </p:nvGraphicFramePr>
        <p:xfrm>
          <a:off x="1596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6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48571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2352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556171"/>
              </p:ext>
            </p:extLst>
          </p:nvPr>
        </p:nvGraphicFramePr>
        <p:xfrm>
          <a:off x="1594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4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85749" y="923026"/>
            <a:ext cx="9341329" cy="53317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635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9562" y="2488255"/>
            <a:ext cx="9221638" cy="1362075"/>
          </a:xfrm>
        </p:spPr>
        <p:txBody>
          <a:bodyPr anchor="t"/>
          <a:lstStyle>
            <a:lvl1pPr algn="ctr">
              <a:defRPr sz="2400" b="0" cap="all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31118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85750" y="938844"/>
            <a:ext cx="4614054" cy="5315906"/>
          </a:xfrm>
        </p:spPr>
        <p:txBody>
          <a:bodyPr/>
          <a:lstStyle>
            <a:lvl1pPr>
              <a:defRPr sz="1800"/>
            </a:lvl1pPr>
            <a:lvl2pPr marL="534988" indent="-190500">
              <a:defRPr sz="1600"/>
            </a:lvl2pPr>
            <a:lvl3pPr marL="896938" indent="-203200">
              <a:defRPr sz="1500"/>
            </a:lvl3pPr>
            <a:lvl4pPr marL="1165225" indent="-176213">
              <a:tabLst>
                <a:tab pos="1165225" algn="l"/>
              </a:tabLst>
              <a:defRPr sz="1200" b="0"/>
            </a:lvl4pPr>
            <a:lvl5pPr marL="1431925" indent="-149225">
              <a:defRPr sz="12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6145" y="938844"/>
            <a:ext cx="4622680" cy="5315906"/>
          </a:xfr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lang="ru-RU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2032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5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5225" indent="-176213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925" indent="-14922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2479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4"/>
            <a:ext cx="4376870" cy="407987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5" y="2174874"/>
            <a:ext cx="4378590" cy="407987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01881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006" cy="1162050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1123950"/>
            <a:ext cx="5537729" cy="50022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006" cy="4691063"/>
          </a:xfrm>
        </p:spPr>
        <p:txBody>
          <a:bodyPr/>
          <a:lstStyle>
            <a:lvl1pPr marL="0" indent="0">
              <a:buNone/>
              <a:defRPr sz="12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57021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143612959"/>
              </p:ext>
            </p:extLst>
          </p:nvPr>
        </p:nvGraphicFramePr>
        <p:xfrm>
          <a:off x="1594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78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94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84672" y="205467"/>
            <a:ext cx="9351033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5749" y="923026"/>
            <a:ext cx="9341329" cy="533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91424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27018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79045" y="6392551"/>
            <a:ext cx="471821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8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0077457" y="109538"/>
            <a:ext cx="663575" cy="582612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1100" dirty="0">
                <a:solidFill>
                  <a:srgbClr val="FFFFFF"/>
                </a:solidFill>
              </a:rPr>
              <a:t>140</a:t>
            </a:r>
            <a:endParaRPr lang="ru-RU" sz="11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</a:t>
            </a:r>
            <a:r>
              <a:rPr lang="en-US" sz="1100" dirty="0">
                <a:solidFill>
                  <a:srgbClr val="FFFFFF"/>
                </a:solidFill>
              </a:rPr>
              <a:t>49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077457" y="1274763"/>
            <a:ext cx="663575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0077457" y="692152"/>
            <a:ext cx="663575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0077457" y="2182813"/>
            <a:ext cx="663575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0077457" y="2760663"/>
            <a:ext cx="663575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0077457" y="3343281"/>
            <a:ext cx="663575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0077457" y="3925888"/>
            <a:ext cx="663575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0077457" y="5091113"/>
            <a:ext cx="663575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0077457" y="5675313"/>
            <a:ext cx="663575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598596296"/>
              </p:ext>
            </p:extLst>
          </p:nvPr>
        </p:nvGraphicFramePr>
        <p:xfrm>
          <a:off x="1596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7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96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10077459" y="1274763"/>
            <a:ext cx="663575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0077459" y="692152"/>
            <a:ext cx="663575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0077459" y="2182813"/>
            <a:ext cx="663575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0077459" y="2760663"/>
            <a:ext cx="663575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0077459" y="3343281"/>
            <a:ext cx="663575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0077459" y="3925888"/>
            <a:ext cx="663575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0077459" y="5091113"/>
            <a:ext cx="663575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0077459" y="5675313"/>
            <a:ext cx="663575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2"/>
          </p:nvPr>
        </p:nvSpPr>
        <p:spPr>
          <a:xfrm>
            <a:off x="6872038" y="6469470"/>
            <a:ext cx="813998" cy="2342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ru-RU" sz="80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287666" y="6248070"/>
            <a:ext cx="6417933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pic>
        <p:nvPicPr>
          <p:cNvPr id="35" name="Изображение 1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062" y="6495572"/>
            <a:ext cx="966788" cy="182703"/>
          </a:xfrm>
          <a:prstGeom prst="rect">
            <a:avLst/>
          </a:prstGeom>
        </p:spPr>
      </p:pic>
      <p:cxnSp>
        <p:nvCxnSpPr>
          <p:cNvPr id="36" name="Прямая соединительная линия 35"/>
          <p:cNvCxnSpPr/>
          <p:nvPr/>
        </p:nvCxnSpPr>
        <p:spPr bwMode="auto">
          <a:xfrm>
            <a:off x="6711351" y="6326846"/>
            <a:ext cx="3194649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7" r:id="rId1"/>
    <p:sldLayoutId id="2147484201" r:id="rId2"/>
    <p:sldLayoutId id="2147484188" r:id="rId3"/>
    <p:sldLayoutId id="2147484189" r:id="rId4"/>
    <p:sldLayoutId id="2147484190" r:id="rId5"/>
    <p:sldLayoutId id="2147484191" r:id="rId6"/>
    <p:sldLayoutId id="2147484192" r:id="rId7"/>
    <p:sldLayoutId id="2147484193" r:id="rId8"/>
    <p:sldLayoutId id="2147484194" r:id="rId9"/>
    <p:sldLayoutId id="2147484195" r:id="rId10"/>
    <p:sldLayoutId id="2147484196" r:id="rId11"/>
    <p:sldLayoutId id="2147484197" r:id="rId12"/>
    <p:sldLayoutId id="2147484198" r:id="rId13"/>
    <p:sldLayoutId id="2147484199" r:id="rId14"/>
    <p:sldLayoutId id="2147484200" r:id="rId15"/>
    <p:sldLayoutId id="2147484202" r:id="rId16"/>
    <p:sldLayoutId id="2147484203" r:id="rId17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45711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23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35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47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4988" indent="-1905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2pPr>
      <a:lvl3pPr marL="801688" indent="-10795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</a:defRPr>
      </a:lvl3pPr>
      <a:lvl4pPr marL="1165225" indent="-176213" algn="l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431925" indent="-149225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5pPr>
      <a:lvl6pPr marL="205545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51257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969689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426808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5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m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tmp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tmp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mp"/><Relationship Id="rId2" Type="http://schemas.openxmlformats.org/officeDocument/2006/relationships/image" Target="../media/image21.tmp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tmp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tmp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tmp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m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8.tm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m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0.tm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tm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3.tmp"/><Relationship Id="rId4" Type="http://schemas.openxmlformats.org/officeDocument/2006/relationships/image" Target="../media/image32.tmp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tm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5.tmp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tmp"/><Relationship Id="rId2" Type="http://schemas.openxmlformats.org/officeDocument/2006/relationships/image" Target="../media/image36.tmp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tm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mp"/><Relationship Id="rId2" Type="http://schemas.openxmlformats.org/officeDocument/2006/relationships/image" Target="../media/image11.tmp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tmp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m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tm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00872" y="2705235"/>
            <a:ext cx="5582235" cy="1426895"/>
          </a:xfrm>
        </p:spPr>
        <p:txBody>
          <a:bodyPr/>
          <a:lstStyle/>
          <a:p>
            <a:r>
              <a:rPr lang="en-US" sz="3600" dirty="0" smtClean="0"/>
              <a:t>Excel</a:t>
            </a:r>
            <a:r>
              <a:rPr lang="ru-RU" sz="3600" dirty="0" smtClean="0"/>
              <a:t>: Анализ данных</a:t>
            </a:r>
            <a:endParaRPr lang="ru-RU" sz="3600" dirty="0"/>
          </a:p>
        </p:txBody>
      </p:sp>
    </p:spTree>
    <p:extLst>
      <p:ext uri="{BB962C8B-B14F-4D97-AF65-F5344CB8AC3E}">
        <p14:creationId xmlns:p14="http://schemas.microsoft.com/office/powerpoint/2010/main" val="1843989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9621328" cy="703263"/>
          </a:xfrm>
        </p:spPr>
        <p:txBody>
          <a:bodyPr/>
          <a:lstStyle/>
          <a:p>
            <a:r>
              <a:rPr lang="ru-RU" sz="2400" b="1" dirty="0" smtClean="0"/>
              <a:t>Сводные таблицы: </a:t>
            </a:r>
            <a:r>
              <a:rPr lang="ru-RU" sz="2400" dirty="0" smtClean="0"/>
              <a:t>вычисления</a:t>
            </a:r>
            <a:endParaRPr lang="ru-RU" sz="2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72480" y="838453"/>
            <a:ext cx="928903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Рассмотрим варианты представления данных. Выведем вместо суммы по полю Цена количество. Для этого необходимо щелкнуть на     и выбрать Параметры полей значений:</a:t>
            </a:r>
          </a:p>
        </p:txBody>
      </p:sp>
      <p:pic>
        <p:nvPicPr>
          <p:cNvPr id="1310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191" t="46874" b="8360"/>
          <a:stretch/>
        </p:blipFill>
        <p:spPr bwMode="auto">
          <a:xfrm>
            <a:off x="295487" y="1423228"/>
            <a:ext cx="3456384" cy="3274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7" descr="Вырезка экрана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6367" y="1196219"/>
            <a:ext cx="152421" cy="142895"/>
          </a:xfrm>
          <a:prstGeom prst="rect">
            <a:avLst/>
          </a:prstGeom>
        </p:spPr>
      </p:pic>
      <p:sp>
        <p:nvSpPr>
          <p:cNvPr id="10" name="Стрелка вправо 9"/>
          <p:cNvSpPr/>
          <p:nvPr/>
        </p:nvSpPr>
        <p:spPr bwMode="auto">
          <a:xfrm>
            <a:off x="3872880" y="3428999"/>
            <a:ext cx="792088" cy="432048"/>
          </a:xfrm>
          <a:prstGeom prst="rightArrow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880992" y="2228211"/>
            <a:ext cx="369621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А в появившемся поле выбрать Операцию Количество:</a:t>
            </a:r>
            <a:endParaRPr lang="ru-RU" sz="1600" dirty="0"/>
          </a:p>
        </p:txBody>
      </p:sp>
      <p:pic>
        <p:nvPicPr>
          <p:cNvPr id="9" name="Рисунок 8" descr="Вырезка экрана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26367" y="2978186"/>
            <a:ext cx="3924848" cy="3115110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 bwMode="auto">
          <a:xfrm>
            <a:off x="7127815" y="5657234"/>
            <a:ext cx="823797" cy="309663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4920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9621328" cy="703263"/>
          </a:xfrm>
        </p:spPr>
        <p:txBody>
          <a:bodyPr/>
          <a:lstStyle/>
          <a:p>
            <a:r>
              <a:rPr lang="ru-RU" sz="2400" b="1" dirty="0" smtClean="0"/>
              <a:t>Сводные таблицы: </a:t>
            </a:r>
            <a:r>
              <a:rPr lang="ru-RU" sz="2400" dirty="0" smtClean="0"/>
              <a:t>вычисления</a:t>
            </a:r>
            <a:endParaRPr lang="ru-RU" sz="2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72480" y="838453"/>
            <a:ext cx="928903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Если в этом же окне Параметры поля </a:t>
            </a:r>
            <a:r>
              <a:rPr lang="ru-RU" sz="1600" dirty="0" smtClean="0"/>
              <a:t>значений перейти </a:t>
            </a:r>
            <a:r>
              <a:rPr lang="ru-RU" sz="1600" dirty="0"/>
              <a:t>на вкладку Дополнительные </a:t>
            </a:r>
            <a:r>
              <a:rPr lang="ru-RU" sz="1600" dirty="0" smtClean="0"/>
              <a:t>вычисления, </a:t>
            </a:r>
            <a:r>
              <a:rPr lang="ru-RU" sz="1600" dirty="0"/>
              <a:t>то станет доступен выпадающий список Дополнительные вычисления</a:t>
            </a:r>
            <a:r>
              <a:rPr lang="ru-RU" sz="1600" dirty="0" smtClean="0"/>
              <a:t>.</a:t>
            </a:r>
          </a:p>
          <a:p>
            <a:endParaRPr lang="ru-RU" sz="1600" dirty="0"/>
          </a:p>
          <a:p>
            <a:r>
              <a:rPr lang="ru-RU" sz="1600" dirty="0" smtClean="0"/>
              <a:t>В </a:t>
            </a:r>
            <a:r>
              <a:rPr lang="ru-RU" sz="1600" dirty="0"/>
              <a:t>этом списке, например, можно выбрать варианты Доля от суммы по </a:t>
            </a:r>
            <a:r>
              <a:rPr lang="ru-RU" sz="1600" dirty="0" smtClean="0"/>
              <a:t>строке, </a:t>
            </a:r>
            <a:r>
              <a:rPr lang="ru-RU" sz="1600" dirty="0"/>
              <a:t>Доля от суммы по </a:t>
            </a:r>
            <a:r>
              <a:rPr lang="ru-RU" sz="1600" dirty="0" smtClean="0"/>
              <a:t>столбцу или </a:t>
            </a:r>
            <a:r>
              <a:rPr lang="ru-RU" sz="1600" dirty="0"/>
              <a:t>Доля от общей </a:t>
            </a:r>
            <a:r>
              <a:rPr lang="ru-RU" sz="1600" dirty="0" smtClean="0"/>
              <a:t>суммы, </a:t>
            </a:r>
            <a:r>
              <a:rPr lang="ru-RU" sz="1600" dirty="0"/>
              <a:t>чтобы автоматически подсчитать проценты для каждого </a:t>
            </a:r>
            <a:r>
              <a:rPr lang="ru-RU" sz="1600" dirty="0" smtClean="0"/>
              <a:t>производителя. </a:t>
            </a:r>
            <a:r>
              <a:rPr lang="ru-RU" sz="1600" dirty="0"/>
              <a:t>Вот так, например, будет выглядеть наша сводная таблица с включенной функцией Доля от суммы по </a:t>
            </a:r>
            <a:r>
              <a:rPr lang="ru-RU" sz="1600" dirty="0" smtClean="0"/>
              <a:t>столбцу:</a:t>
            </a:r>
          </a:p>
        </p:txBody>
      </p:sp>
      <p:pic>
        <p:nvPicPr>
          <p:cNvPr id="2" name="Рисунок 1" descr="Вырезка экрана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870" y="3068960"/>
            <a:ext cx="4772691" cy="2886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156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 smtClean="0"/>
              <a:t>Работа с датами: </a:t>
            </a:r>
            <a:r>
              <a:rPr lang="ru-RU" sz="2400" dirty="0" smtClean="0"/>
              <a:t>особенности</a:t>
            </a:r>
            <a:endParaRPr lang="ru-RU" sz="2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98797" y="764704"/>
            <a:ext cx="933690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Для ввода сегодняшней даты в текущую ячейку можно воспользоваться сочетанием клавиш </a:t>
            </a:r>
            <a:r>
              <a:rPr lang="ru-RU" sz="1600" b="1" dirty="0" err="1"/>
              <a:t>Ctrl</a:t>
            </a:r>
            <a:r>
              <a:rPr lang="ru-RU" sz="1600" b="1" dirty="0"/>
              <a:t> + Ж</a:t>
            </a:r>
            <a:r>
              <a:rPr lang="ru-RU" sz="1600" dirty="0"/>
              <a:t> (или </a:t>
            </a:r>
            <a:r>
              <a:rPr lang="ru-RU" sz="1600" b="1" dirty="0"/>
              <a:t>CTRL+SHIFT+4</a:t>
            </a:r>
            <a:r>
              <a:rPr lang="ru-RU" sz="1600" dirty="0"/>
              <a:t> если у вас другой системный язык по умолчанию</a:t>
            </a:r>
            <a:r>
              <a:rPr lang="ru-RU" sz="1600" dirty="0" smtClean="0"/>
              <a:t>).</a:t>
            </a:r>
          </a:p>
          <a:p>
            <a:endParaRPr lang="ru-RU" sz="1600" dirty="0" smtClean="0"/>
          </a:p>
          <a:p>
            <a:r>
              <a:rPr lang="ru-RU" sz="1600" dirty="0"/>
              <a:t>Если скопировать ячейку с датой (протянуть за правый нижний угол ячейки), удерживая </a:t>
            </a:r>
            <a:r>
              <a:rPr lang="ru-RU" sz="1600" u="sng" dirty="0"/>
              <a:t>правую</a:t>
            </a:r>
            <a:r>
              <a:rPr lang="ru-RU" sz="1600" dirty="0"/>
              <a:t> кнопку мыши, то можно выбрать - как именно копировать выделенную дату:</a:t>
            </a:r>
          </a:p>
        </p:txBody>
      </p:sp>
      <p:pic>
        <p:nvPicPr>
          <p:cNvPr id="9" name="Рисунок 8" descr="Вырезка экрана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11" y="2088143"/>
            <a:ext cx="3143689" cy="2753109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4998918" y="2591282"/>
            <a:ext cx="4953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dirty="0"/>
              <a:t>Если нужно, чтобы в ячейке всегда была актуальная сегодняшняя дата - лучше воспользоваться функцией </a:t>
            </a:r>
            <a:r>
              <a:rPr lang="ru-RU" sz="1600" dirty="0" smtClean="0"/>
              <a:t>СЕГОДНЯ:</a:t>
            </a:r>
            <a:endParaRPr lang="ru-RU" sz="1600" dirty="0"/>
          </a:p>
        </p:txBody>
      </p:sp>
      <p:pic>
        <p:nvPicPr>
          <p:cNvPr id="11" name="Рисунок 10" descr="Вырезка экрана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52" t="8538" r="7965" b="11509"/>
          <a:stretch/>
        </p:blipFill>
        <p:spPr>
          <a:xfrm>
            <a:off x="5138156" y="3422279"/>
            <a:ext cx="1615044" cy="1104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499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 smtClean="0"/>
              <a:t>Работа с датами: </a:t>
            </a:r>
            <a:r>
              <a:rPr lang="ru-RU" sz="2400" dirty="0" smtClean="0"/>
              <a:t>особенности</a:t>
            </a:r>
            <a:endParaRPr lang="ru-RU" sz="2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48837" y="620688"/>
            <a:ext cx="930637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Количество рабочих дней между двумя датами</a:t>
            </a:r>
          </a:p>
          <a:p>
            <a:endParaRPr lang="ru-RU" dirty="0" smtClean="0"/>
          </a:p>
          <a:p>
            <a:r>
              <a:rPr lang="ru-RU" sz="1600" dirty="0" smtClean="0"/>
              <a:t>Необходимо </a:t>
            </a:r>
            <a:r>
              <a:rPr lang="ru-RU" sz="1600" dirty="0"/>
              <a:t>не учитывать субботы с воскресеньями и праздники. Для такого расчета лучше воспользоваться функцией ЧИСТРАБДНИ (NETWORKDAYS) из категории Дата и время. В качестве аргументов этой функции необходимо указать начальную и конечную даты и ячейки с датами выходных (государственных праздников, больничных дней, отпусков, отгулов и т.д.):</a:t>
            </a:r>
          </a:p>
        </p:txBody>
      </p:sp>
      <p:pic>
        <p:nvPicPr>
          <p:cNvPr id="9" name="Рисунок 8" descr="Вырезка экрана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96" y="2251904"/>
            <a:ext cx="3534269" cy="1324160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307869" y="3752166"/>
            <a:ext cx="9397659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Вычисление возраста или стажа функцией </a:t>
            </a:r>
            <a:r>
              <a:rPr lang="ru-RU" dirty="0" smtClean="0"/>
              <a:t>РАЗНДАТ:</a:t>
            </a:r>
          </a:p>
          <a:p>
            <a:endParaRPr lang="ru-RU" dirty="0"/>
          </a:p>
          <a:p>
            <a:r>
              <a:rPr lang="ru-RU" sz="1600" dirty="0" smtClean="0"/>
              <a:t>Данная функция не определяется автоматически в </a:t>
            </a:r>
            <a:r>
              <a:rPr lang="en-US" sz="1600" dirty="0" smtClean="0"/>
              <a:t>Excel</a:t>
            </a:r>
            <a:r>
              <a:rPr lang="ru-RU" sz="1600" dirty="0" smtClean="0"/>
              <a:t>, но при этом очень </a:t>
            </a:r>
            <a:r>
              <a:rPr lang="ru-RU" sz="1600" dirty="0"/>
              <a:t>полезна:</a:t>
            </a:r>
            <a:br>
              <a:rPr lang="ru-RU" sz="1600" dirty="0"/>
            </a:br>
            <a:r>
              <a:rPr lang="ru-RU" sz="1600" b="1" dirty="0"/>
              <a:t>=РАЗНДАТ(</a:t>
            </a:r>
            <a:r>
              <a:rPr lang="ru-RU" sz="1600" b="1" dirty="0" err="1"/>
              <a:t>Начальная_дата</a:t>
            </a:r>
            <a:r>
              <a:rPr lang="ru-RU" sz="1600" b="1" dirty="0"/>
              <a:t>; </a:t>
            </a:r>
            <a:r>
              <a:rPr lang="ru-RU" sz="1600" b="1" dirty="0" err="1"/>
              <a:t>Конечная_дата</a:t>
            </a:r>
            <a:r>
              <a:rPr lang="ru-RU" sz="1600" b="1" dirty="0"/>
              <a:t>; </a:t>
            </a:r>
            <a:r>
              <a:rPr lang="ru-RU" sz="1600" b="1" dirty="0" err="1"/>
              <a:t>Способ_измерения</a:t>
            </a:r>
            <a:r>
              <a:rPr lang="ru-RU" sz="1600" b="1" dirty="0"/>
              <a:t>) </a:t>
            </a:r>
            <a:endParaRPr lang="ru-RU" sz="1600" b="1" dirty="0" smtClean="0"/>
          </a:p>
          <a:p>
            <a:r>
              <a:rPr lang="ru-RU" sz="1600" dirty="0" smtClean="0"/>
              <a:t>Способы измерения:</a:t>
            </a:r>
          </a:p>
          <a:p>
            <a:r>
              <a:rPr lang="ru-RU" sz="1400" dirty="0" smtClean="0"/>
              <a:t>"</a:t>
            </a:r>
            <a:r>
              <a:rPr lang="ru-RU" sz="1400" dirty="0"/>
              <a:t>y"  разница в полных годах     </a:t>
            </a:r>
          </a:p>
          <a:p>
            <a:r>
              <a:rPr lang="ru-RU" sz="1400" dirty="0"/>
              <a:t>"m"  в полных месяцах  </a:t>
            </a:r>
          </a:p>
          <a:p>
            <a:r>
              <a:rPr lang="ru-RU" sz="1400" dirty="0"/>
              <a:t>"d"  в полных днях  </a:t>
            </a:r>
          </a:p>
          <a:p>
            <a:r>
              <a:rPr lang="ru-RU" sz="1400" dirty="0"/>
              <a:t>"</a:t>
            </a:r>
            <a:r>
              <a:rPr lang="ru-RU" sz="1400" dirty="0" err="1"/>
              <a:t>yd</a:t>
            </a:r>
            <a:r>
              <a:rPr lang="ru-RU" sz="1400" dirty="0"/>
              <a:t>"  разница в днях с начала года без учета лет  </a:t>
            </a:r>
          </a:p>
          <a:p>
            <a:r>
              <a:rPr lang="ru-RU" sz="1400" dirty="0"/>
              <a:t>"</a:t>
            </a:r>
            <a:r>
              <a:rPr lang="ru-RU" sz="1400" dirty="0" err="1"/>
              <a:t>md</a:t>
            </a:r>
            <a:r>
              <a:rPr lang="ru-RU" sz="1400" dirty="0"/>
              <a:t>"  разница в днях без учета месяцев и лет  </a:t>
            </a:r>
          </a:p>
          <a:p>
            <a:r>
              <a:rPr lang="ru-RU" sz="1400" dirty="0"/>
              <a:t>"</a:t>
            </a:r>
            <a:r>
              <a:rPr lang="ru-RU" sz="1400" dirty="0" err="1"/>
              <a:t>ym</a:t>
            </a:r>
            <a:r>
              <a:rPr lang="ru-RU" sz="1400" dirty="0"/>
              <a:t>"  разница в полных месяцах без учета лет </a:t>
            </a:r>
          </a:p>
        </p:txBody>
      </p:sp>
    </p:spTree>
    <p:extLst>
      <p:ext uri="{BB962C8B-B14F-4D97-AF65-F5344CB8AC3E}">
        <p14:creationId xmlns:p14="http://schemas.microsoft.com/office/powerpoint/2010/main" val="3723166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9351033" cy="703263"/>
          </a:xfrm>
        </p:spPr>
        <p:txBody>
          <a:bodyPr/>
          <a:lstStyle/>
          <a:p>
            <a:r>
              <a:rPr lang="ru-RU" sz="2400" b="1" dirty="0" smtClean="0"/>
              <a:t>Текстовые функции: </a:t>
            </a:r>
            <a:r>
              <a:rPr lang="ru-RU" sz="2400" dirty="0" smtClean="0"/>
              <a:t>особенности</a:t>
            </a:r>
            <a:endParaRPr lang="ru-RU" sz="2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59200" y="731466"/>
            <a:ext cx="9391666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Подсветка лишних пробелов в ячейке:</a:t>
            </a:r>
          </a:p>
          <a:p>
            <a:r>
              <a:rPr lang="ru-RU" sz="1600" dirty="0" smtClean="0"/>
              <a:t>Предположим, что у вас есть список из имен, в котором вам необходимо просто подсветить, в каких ячейках у вас имеются лишние пробелы. Воспользуемся формулой СЖПРОБЕЛЫ:</a:t>
            </a:r>
            <a:endParaRPr lang="ru-RU" sz="1600" dirty="0"/>
          </a:p>
        </p:txBody>
      </p:sp>
      <p:pic>
        <p:nvPicPr>
          <p:cNvPr id="8" name="Рисунок 7" descr="Вырезка экрана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661" y="1593240"/>
            <a:ext cx="2448267" cy="1743318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265604" y="3431322"/>
            <a:ext cx="9391666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Написание краткого ФИО:</a:t>
            </a:r>
          </a:p>
          <a:p>
            <a:r>
              <a:rPr lang="ru-RU" sz="1600" dirty="0" smtClean="0"/>
              <a:t>У всех была ситуация, когда необходимо преобразовать формат имени Иванов Иван Иванович в Иванов И.И. это можно легко сделать с помощью следующей формулы(лучше сохраните себе ее, так как не всегда есть возможность вспомнить и набрать заново):</a:t>
            </a:r>
          </a:p>
          <a:p>
            <a:r>
              <a:rPr lang="ru-RU" sz="1600" dirty="0"/>
              <a:t>=ЛЕВСИМВ(</a:t>
            </a:r>
            <a:r>
              <a:rPr lang="en-US" sz="1600" dirty="0"/>
              <a:t>F4;</a:t>
            </a:r>
            <a:r>
              <a:rPr lang="ru-RU" sz="1600" dirty="0"/>
              <a:t>НАЙТИ(" ";</a:t>
            </a:r>
            <a:r>
              <a:rPr lang="en-US" sz="1600" dirty="0"/>
              <a:t>F4;1))&amp;" "&amp;</a:t>
            </a:r>
            <a:r>
              <a:rPr lang="ru-RU" sz="1600" dirty="0"/>
              <a:t>ПСТР(СЖПРОБЕЛЫ(</a:t>
            </a:r>
            <a:r>
              <a:rPr lang="en-US" sz="1600" dirty="0"/>
              <a:t>F4);</a:t>
            </a:r>
            <a:r>
              <a:rPr lang="ru-RU" sz="1600" dirty="0"/>
              <a:t>НАЙТИ(" ";СЖПРОБЕЛЫ(</a:t>
            </a:r>
            <a:r>
              <a:rPr lang="en-US" sz="1600" dirty="0"/>
              <a:t>F4);1)+1;1)&amp;"."&amp;</a:t>
            </a:r>
            <a:r>
              <a:rPr lang="ru-RU" sz="1600" dirty="0"/>
              <a:t>ПСТР(СЖПРОБЕЛЫ(</a:t>
            </a:r>
            <a:r>
              <a:rPr lang="en-US" sz="1600" dirty="0"/>
              <a:t>F4);</a:t>
            </a:r>
            <a:r>
              <a:rPr lang="ru-RU" sz="1600" dirty="0"/>
              <a:t>НАЙТИ(" ";СЖПРОБЕЛЫ(</a:t>
            </a:r>
            <a:r>
              <a:rPr lang="en-US" sz="1600" dirty="0"/>
              <a:t>F4);</a:t>
            </a:r>
            <a:r>
              <a:rPr lang="ru-RU" sz="1600" dirty="0"/>
              <a:t>НАЙТИ(" ";СЖПРОБЕЛЫ(</a:t>
            </a:r>
            <a:r>
              <a:rPr lang="en-US" sz="1600" dirty="0"/>
              <a:t>F4);1)+1);2</a:t>
            </a:r>
            <a:r>
              <a:rPr lang="en-US" sz="1600" dirty="0" smtClean="0"/>
              <a:t>)&amp;"."</a:t>
            </a:r>
            <a:endParaRPr lang="ru-RU" sz="1600" dirty="0" smtClean="0"/>
          </a:p>
          <a:p>
            <a:endParaRPr lang="ru-RU" sz="1600" dirty="0"/>
          </a:p>
          <a:p>
            <a:r>
              <a:rPr lang="ru-RU" sz="1600" dirty="0" smtClean="0"/>
              <a:t>Где </a:t>
            </a:r>
            <a:r>
              <a:rPr lang="en-US" sz="1600" dirty="0" smtClean="0"/>
              <a:t>F4</a:t>
            </a:r>
            <a:r>
              <a:rPr lang="ru-RU" sz="1600" dirty="0" smtClean="0"/>
              <a:t> – ячейка с полным ФИО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509258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9351033" cy="703263"/>
          </a:xfrm>
        </p:spPr>
        <p:txBody>
          <a:bodyPr/>
          <a:lstStyle/>
          <a:p>
            <a:r>
              <a:rPr lang="ru-RU" sz="2400" b="1" dirty="0" smtClean="0"/>
              <a:t>Текстовые функции: </a:t>
            </a:r>
            <a:r>
              <a:rPr lang="ru-RU" sz="2400" dirty="0" smtClean="0"/>
              <a:t>особенности</a:t>
            </a:r>
            <a:endParaRPr lang="ru-RU" sz="2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17477" y="764704"/>
            <a:ext cx="9391666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Подсчет количества слов в ячейке:</a:t>
            </a:r>
          </a:p>
          <a:p>
            <a:r>
              <a:rPr lang="ru-RU" sz="1600" dirty="0"/>
              <a:t>Общий принцип работы формулы прост - число слов в ячейке всегда на 1 больше, чем число пробелов между словами. Таким образом, подсчитав разницу между длиной исходного текста и его же, но взятого без пробелов - мы получим в результате количество пробелов, т.е. количество слов. </a:t>
            </a:r>
            <a:endParaRPr lang="ru-RU" sz="1600" dirty="0" smtClean="0"/>
          </a:p>
          <a:p>
            <a:r>
              <a:rPr lang="ru-RU" sz="1600" dirty="0" smtClean="0"/>
              <a:t>ДЛСТР(СЖПРОБЕЛЫ(A1</a:t>
            </a:r>
            <a:r>
              <a:rPr lang="ru-RU" sz="1600" dirty="0"/>
              <a:t>)) - длина исходного текста без лишних пробелов</a:t>
            </a:r>
          </a:p>
          <a:p>
            <a:r>
              <a:rPr lang="ru-RU" sz="1600" dirty="0"/>
              <a:t>ДЛСТР(ПОДСТАВИТЬ(A1;" ";"")) - длина исходного текста, в котором все пробелы заменены на пустоту, т.е. удалены, т.е. длина текста без пробелов </a:t>
            </a:r>
            <a:r>
              <a:rPr lang="ru-RU" sz="1600" dirty="0" smtClean="0"/>
              <a:t>вообще.</a:t>
            </a:r>
          </a:p>
          <a:p>
            <a:endParaRPr lang="ru-RU" sz="1600" dirty="0"/>
          </a:p>
          <a:p>
            <a:r>
              <a:rPr lang="ru-RU" sz="1600" dirty="0" smtClean="0"/>
              <a:t>Ну</a:t>
            </a:r>
            <a:r>
              <a:rPr lang="ru-RU" sz="1600" dirty="0"/>
              <a:t>, а дальше считаем разницу и прибавляем 1, чтобы получить искомое количество слов.</a:t>
            </a:r>
          </a:p>
          <a:p>
            <a:r>
              <a:rPr lang="ru-RU" sz="1600" dirty="0" smtClean="0"/>
              <a:t>Остается </a:t>
            </a:r>
            <a:r>
              <a:rPr lang="ru-RU" sz="1600" dirty="0"/>
              <a:t>одна маленькая проблема: если ячейка пустая, то наша формула выдает 1. Поэтому добавим функцию ЕСЛИ (IF), которая будет заранее проверять ячейку на предмет пустоты с помощью функции ЕПУСТО (ISBLANK) и выводить 0 либо считать число слов по нашему алгоритму.</a:t>
            </a:r>
          </a:p>
          <a:p>
            <a:endParaRPr lang="ru-RU" sz="1600" dirty="0"/>
          </a:p>
          <a:p>
            <a:r>
              <a:rPr lang="ru-RU" sz="1600" dirty="0" smtClean="0"/>
              <a:t>Получаем для нашего случая формулу:</a:t>
            </a:r>
            <a:endParaRPr lang="ru-RU" sz="1600" dirty="0"/>
          </a:p>
        </p:txBody>
      </p:sp>
      <p:pic>
        <p:nvPicPr>
          <p:cNvPr id="2" name="Рисунок 1" descr="Вырезка экрана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9" y="4778537"/>
            <a:ext cx="7592485" cy="1714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763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9351033" cy="703263"/>
          </a:xfrm>
        </p:spPr>
        <p:txBody>
          <a:bodyPr/>
          <a:lstStyle/>
          <a:p>
            <a:r>
              <a:rPr lang="ru-RU" sz="2400" b="1" dirty="0" smtClean="0"/>
              <a:t>Анализ данных: </a:t>
            </a:r>
            <a:r>
              <a:rPr lang="ru-RU" sz="2400" dirty="0" smtClean="0"/>
              <a:t>Что если</a:t>
            </a:r>
            <a:endParaRPr lang="ru-RU" sz="2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72480" y="692696"/>
            <a:ext cx="9289032" cy="4585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С помощью средств анализа "что если" в Microsoft Excel вы можете экспериментировать с различными наборами значений в одной или нескольких формулах, чтобы изучить все возможные результаты.</a:t>
            </a:r>
          </a:p>
          <a:p>
            <a:endParaRPr lang="ru-RU" sz="1600" dirty="0"/>
          </a:p>
          <a:p>
            <a:r>
              <a:rPr lang="ru-RU" sz="1600" dirty="0"/>
              <a:t>Например, можно выполнить анализ "что если" для формирования двух бюджетов с разными предполагаемыми уровнями дохода. Или можно указать нужный результат формулы, а затем определить, какие наборы значений позволят его получить. В Excel предлагается несколько средств для выполнения разных типов анализа</a:t>
            </a:r>
            <a:r>
              <a:rPr lang="ru-RU" sz="1600" dirty="0" smtClean="0"/>
              <a:t>.</a:t>
            </a:r>
          </a:p>
          <a:p>
            <a:endParaRPr lang="ru-RU" sz="1600" dirty="0"/>
          </a:p>
          <a:p>
            <a:r>
              <a:rPr lang="ru-RU" sz="1600" dirty="0"/>
              <a:t>В Excel предлагаются средства анализа "что если" трех типов: сценарии, таблицы данных и подбор параметров. В сценариях и таблицах данных берутся наборы входных значений и определяются возможные результаты. Таблицы данных работают только с одной или двумя переменными, но могут принимать множество различных значений для них. Сценарий может содержать несколько переменных, но допускает не более 32 значений. Действие подбора параметров отличается от сценариев и таблиц данных — берется результат и определяются возможные входные значения для его получения.</a:t>
            </a:r>
          </a:p>
          <a:p>
            <a:r>
              <a:rPr lang="ru-RU" sz="1600" dirty="0" smtClean="0"/>
              <a:t> </a:t>
            </a:r>
            <a:endParaRPr lang="ru-RU" sz="1600" dirty="0"/>
          </a:p>
          <a:p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540945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2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0" r="24610" b="76297"/>
          <a:stretch/>
        </p:blipFill>
        <p:spPr bwMode="auto">
          <a:xfrm>
            <a:off x="271423" y="1915757"/>
            <a:ext cx="9276179" cy="1445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9351033" cy="703263"/>
          </a:xfrm>
        </p:spPr>
        <p:txBody>
          <a:bodyPr/>
          <a:lstStyle/>
          <a:p>
            <a:r>
              <a:rPr lang="ru-RU" sz="2400" b="1" dirty="0" smtClean="0"/>
              <a:t>Анализ данных: </a:t>
            </a:r>
            <a:r>
              <a:rPr lang="ru-RU" sz="2400" dirty="0" smtClean="0"/>
              <a:t>Что если – подбор параметра</a:t>
            </a:r>
            <a:endParaRPr lang="ru-RU" sz="2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72480" y="692696"/>
            <a:ext cx="9289032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Рассмотрим в качестве примера ситуацию: вам необходимо набрать 85 баллов для поступления. Чтобы быстро определить кол-во баллов, которые необходимо набрать на тесте (максимум 150), воспользуемся анализом «что если» – подбор параметра. Чтобы подбор параметра сработал, пропишем в ячейке </a:t>
            </a:r>
            <a:r>
              <a:rPr lang="en-US" sz="1600" dirty="0" smtClean="0"/>
              <a:t>B6 </a:t>
            </a:r>
            <a:r>
              <a:rPr lang="ru-RU" sz="1600" dirty="0" smtClean="0"/>
              <a:t>формулу =СРЗНАЧ(</a:t>
            </a:r>
            <a:r>
              <a:rPr lang="en-US" sz="1600" dirty="0"/>
              <a:t>B2:B5</a:t>
            </a:r>
            <a:r>
              <a:rPr lang="en-US" sz="1600" dirty="0" smtClean="0"/>
              <a:t>)</a:t>
            </a:r>
            <a:r>
              <a:rPr lang="ru-RU" sz="1600" dirty="0" smtClean="0"/>
              <a:t>, запускаем анализ:</a:t>
            </a:r>
            <a:endParaRPr lang="ru-RU" sz="1600" dirty="0"/>
          </a:p>
          <a:p>
            <a:endParaRPr lang="ru-RU" dirty="0"/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3872880" y="1895201"/>
            <a:ext cx="687735" cy="309663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7761312" y="2492896"/>
            <a:ext cx="1354242" cy="309663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7824802" y="2931209"/>
            <a:ext cx="1722799" cy="309663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Стрелка вправо 12"/>
          <p:cNvSpPr/>
          <p:nvPr/>
        </p:nvSpPr>
        <p:spPr bwMode="auto">
          <a:xfrm rot="5400000">
            <a:off x="596516" y="3537012"/>
            <a:ext cx="792088" cy="432048"/>
          </a:xfrm>
          <a:prstGeom prst="rightArrow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Стрелка вправо 14"/>
          <p:cNvSpPr/>
          <p:nvPr/>
        </p:nvSpPr>
        <p:spPr bwMode="auto">
          <a:xfrm>
            <a:off x="4513468" y="4686296"/>
            <a:ext cx="792088" cy="432048"/>
          </a:xfrm>
          <a:prstGeom prst="rightArrow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4" name="Рисунок 13" descr="Вырезка экрана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480" y="4191950"/>
            <a:ext cx="4035644" cy="1391602"/>
          </a:xfrm>
          <a:prstGeom prst="rect">
            <a:avLst/>
          </a:prstGeom>
        </p:spPr>
      </p:pic>
      <p:pic>
        <p:nvPicPr>
          <p:cNvPr id="17" name="Рисунок 16" descr="Вырезка экрана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6007" y="4297287"/>
            <a:ext cx="4020458" cy="128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44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9351033" cy="703263"/>
          </a:xfrm>
        </p:spPr>
        <p:txBody>
          <a:bodyPr/>
          <a:lstStyle/>
          <a:p>
            <a:r>
              <a:rPr lang="ru-RU" sz="2400" b="1" dirty="0" smtClean="0"/>
              <a:t>Анализ данных: </a:t>
            </a:r>
            <a:r>
              <a:rPr lang="ru-RU" sz="2400" dirty="0" smtClean="0"/>
              <a:t>Что если – </a:t>
            </a:r>
            <a:r>
              <a:rPr lang="ru-RU" sz="2400" dirty="0"/>
              <a:t>д</a:t>
            </a:r>
            <a:r>
              <a:rPr lang="ru-RU" sz="2400" dirty="0" smtClean="0"/>
              <a:t>испетчер сценариев</a:t>
            </a:r>
            <a:endParaRPr lang="ru-RU" sz="2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72480" y="692696"/>
            <a:ext cx="928903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Рассмотрим предыдущую задачу, но на этот раз у нас не написано Сочинение и Тест и нет среднего балла, к которому необходимо прийти:</a:t>
            </a:r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0" r="24610" b="76297"/>
          <a:stretch/>
        </p:blipFill>
        <p:spPr bwMode="auto">
          <a:xfrm>
            <a:off x="271423" y="1289316"/>
            <a:ext cx="9276179" cy="1445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 bwMode="auto">
          <a:xfrm>
            <a:off x="3872880" y="1268760"/>
            <a:ext cx="687735" cy="309663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7761312" y="1794447"/>
            <a:ext cx="1354242" cy="309663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7824802" y="2082479"/>
            <a:ext cx="1722799" cy="309663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Стрелка вправо 11"/>
          <p:cNvSpPr/>
          <p:nvPr/>
        </p:nvSpPr>
        <p:spPr bwMode="auto">
          <a:xfrm rot="5400000">
            <a:off x="596516" y="2910571"/>
            <a:ext cx="792088" cy="432048"/>
          </a:xfrm>
          <a:prstGeom prst="rightArrow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" name="Рисунок 1" descr="Изменение сценария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423" y="3522639"/>
            <a:ext cx="3765145" cy="2563164"/>
          </a:xfrm>
          <a:prstGeom prst="rect">
            <a:avLst/>
          </a:prstGeom>
        </p:spPr>
      </p:pic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4333178" y="4159677"/>
            <a:ext cx="979862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ru-RU" sz="1800" b="1" kern="0" dirty="0" smtClean="0"/>
              <a:t>И второй вариант</a:t>
            </a:r>
            <a:endParaRPr lang="ru-RU" sz="1800" kern="0" dirty="0"/>
          </a:p>
        </p:txBody>
      </p:sp>
      <p:sp>
        <p:nvSpPr>
          <p:cNvPr id="14" name="Стрелка вправо 13"/>
          <p:cNvSpPr/>
          <p:nvPr/>
        </p:nvSpPr>
        <p:spPr bwMode="auto">
          <a:xfrm rot="5400000">
            <a:off x="6475994" y="2914645"/>
            <a:ext cx="792088" cy="432048"/>
          </a:xfrm>
          <a:prstGeom prst="rightArrow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5" name="Рисунок 14" descr="Добавление сценария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9352" y="3526713"/>
            <a:ext cx="3759693" cy="2559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707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9351033" cy="703263"/>
          </a:xfrm>
        </p:spPr>
        <p:txBody>
          <a:bodyPr/>
          <a:lstStyle/>
          <a:p>
            <a:r>
              <a:rPr lang="ru-RU" sz="2400" b="1" dirty="0" smtClean="0"/>
              <a:t>Анализ данных: </a:t>
            </a:r>
            <a:r>
              <a:rPr lang="ru-RU" sz="2400" dirty="0" smtClean="0"/>
              <a:t>Что если – </a:t>
            </a:r>
            <a:r>
              <a:rPr lang="ru-RU" sz="2400" dirty="0"/>
              <a:t>д</a:t>
            </a:r>
            <a:r>
              <a:rPr lang="ru-RU" sz="2400" dirty="0" smtClean="0"/>
              <a:t>испетчер сценариев</a:t>
            </a:r>
            <a:endParaRPr lang="ru-RU" sz="2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72480" y="692696"/>
            <a:ext cx="928903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А теперь на базе двух сценариев вызовем отчет, который формируется автоматически:</a:t>
            </a:r>
            <a:endParaRPr lang="ru-RU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0" r="24610" b="76297"/>
          <a:stretch/>
        </p:blipFill>
        <p:spPr bwMode="auto">
          <a:xfrm>
            <a:off x="271423" y="1289316"/>
            <a:ext cx="9276179" cy="1445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6"/>
          <p:cNvSpPr/>
          <p:nvPr/>
        </p:nvSpPr>
        <p:spPr bwMode="auto">
          <a:xfrm>
            <a:off x="3872880" y="1268760"/>
            <a:ext cx="687735" cy="309663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7761312" y="1794447"/>
            <a:ext cx="1354242" cy="309663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7824802" y="2082479"/>
            <a:ext cx="1722799" cy="309663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Стрелка вправо 19"/>
          <p:cNvSpPr/>
          <p:nvPr/>
        </p:nvSpPr>
        <p:spPr bwMode="auto">
          <a:xfrm rot="5400000">
            <a:off x="596516" y="2910571"/>
            <a:ext cx="792088" cy="432048"/>
          </a:xfrm>
          <a:prstGeom prst="rightArrow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Стрелка вправо 20"/>
          <p:cNvSpPr/>
          <p:nvPr/>
        </p:nvSpPr>
        <p:spPr bwMode="auto">
          <a:xfrm>
            <a:off x="3658890" y="4660649"/>
            <a:ext cx="518218" cy="432048"/>
          </a:xfrm>
          <a:prstGeom prst="rightArrow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2" name="Рисунок 21" descr="Диспетчер сценариев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504" y="3573016"/>
            <a:ext cx="3132122" cy="2934305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 bwMode="auto">
          <a:xfrm>
            <a:off x="2324329" y="4944711"/>
            <a:ext cx="864096" cy="309663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4" name="Рисунок 23" descr="Отчет по сценарию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6747" y="4166829"/>
            <a:ext cx="1849648" cy="1419687"/>
          </a:xfrm>
          <a:prstGeom prst="rect">
            <a:avLst/>
          </a:prstGeom>
        </p:spPr>
      </p:pic>
      <p:pic>
        <p:nvPicPr>
          <p:cNvPr id="25" name="Рисунок 24" descr="Вырезка экрана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914"/>
          <a:stretch/>
        </p:blipFill>
        <p:spPr>
          <a:xfrm>
            <a:off x="6609184" y="4228782"/>
            <a:ext cx="3233332" cy="1595382"/>
          </a:xfrm>
          <a:prstGeom prst="rect">
            <a:avLst/>
          </a:prstGeom>
        </p:spPr>
      </p:pic>
      <p:sp>
        <p:nvSpPr>
          <p:cNvPr id="26" name="Стрелка вправо 25"/>
          <p:cNvSpPr/>
          <p:nvPr/>
        </p:nvSpPr>
        <p:spPr bwMode="auto">
          <a:xfrm>
            <a:off x="6090966" y="4667494"/>
            <a:ext cx="518218" cy="432048"/>
          </a:xfrm>
          <a:prstGeom prst="rightArrow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1429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sz="quarter" idx="19"/>
          </p:nvPr>
        </p:nvSpPr>
        <p:spPr>
          <a:xfrm>
            <a:off x="1910662" y="1628800"/>
            <a:ext cx="5391358" cy="3155476"/>
          </a:xfrm>
        </p:spPr>
        <p:txBody>
          <a:bodyPr/>
          <a:lstStyle/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r>
              <a:rPr lang="ru-RU" dirty="0" smtClean="0"/>
              <a:t>Сводные таблицы</a:t>
            </a:r>
          </a:p>
          <a:p>
            <a:pPr lvl="1"/>
            <a:r>
              <a:rPr lang="ru-RU" dirty="0" smtClean="0"/>
              <a:t>Группировка данных</a:t>
            </a:r>
          </a:p>
          <a:p>
            <a:pPr lvl="1"/>
            <a:r>
              <a:rPr lang="ru-RU" dirty="0" smtClean="0"/>
              <a:t>Вычисления</a:t>
            </a:r>
          </a:p>
          <a:p>
            <a:r>
              <a:rPr lang="ru-RU" dirty="0" smtClean="0"/>
              <a:t>Работа с датами (особенности)</a:t>
            </a:r>
          </a:p>
          <a:p>
            <a:r>
              <a:rPr lang="ru-RU" dirty="0" smtClean="0"/>
              <a:t>Работа с текстом (особенности)</a:t>
            </a:r>
            <a:endParaRPr lang="ru-RU" dirty="0"/>
          </a:p>
          <a:p>
            <a:r>
              <a:rPr lang="ru-RU" sz="1600" dirty="0" smtClean="0"/>
              <a:t>Анализ данных: что если</a:t>
            </a:r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pPr marL="0" indent="0">
              <a:buNone/>
            </a:pPr>
            <a:endParaRPr lang="ru-RU" dirty="0"/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008080"/>
                </a:solidFill>
              </a:rPr>
              <a:t>Оглавление</a:t>
            </a:r>
            <a:endParaRPr lang="ru-RU" dirty="0">
              <a:solidFill>
                <a:srgbClr val="008080"/>
              </a:solidFill>
            </a:endParaRPr>
          </a:p>
        </p:txBody>
      </p:sp>
      <p:sp>
        <p:nvSpPr>
          <p:cNvPr id="7" name="Нижний колонтитул 3"/>
          <p:cNvSpPr txBox="1">
            <a:spLocks/>
          </p:cNvSpPr>
          <p:nvPr/>
        </p:nvSpPr>
        <p:spPr>
          <a:xfrm>
            <a:off x="287666" y="6248070"/>
            <a:ext cx="6417933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>
              <a:defRPr lang="ru-RU" sz="800" i="0" dirty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xcel: </a:t>
            </a:r>
            <a:r>
              <a:rPr lang="ru-RU" dirty="0"/>
              <a:t>Анализ данных</a:t>
            </a:r>
          </a:p>
        </p:txBody>
      </p:sp>
    </p:spTree>
    <p:extLst>
      <p:ext uri="{BB962C8B-B14F-4D97-AF65-F5344CB8AC3E}">
        <p14:creationId xmlns:p14="http://schemas.microsoft.com/office/powerpoint/2010/main" val="4231714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9351033" cy="703263"/>
          </a:xfrm>
        </p:spPr>
        <p:txBody>
          <a:bodyPr/>
          <a:lstStyle/>
          <a:p>
            <a:r>
              <a:rPr lang="ru-RU" sz="2400" b="1" dirty="0" smtClean="0"/>
              <a:t>Анализ данных: </a:t>
            </a:r>
            <a:r>
              <a:rPr lang="ru-RU" sz="2400" dirty="0" smtClean="0"/>
              <a:t>Что если – таблица данных</a:t>
            </a:r>
            <a:endParaRPr lang="ru-RU" sz="2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72480" y="692696"/>
            <a:ext cx="9378386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В такой таблице можно изменять одно исходное значение и смотреть, как изменятся </a:t>
            </a:r>
            <a:r>
              <a:rPr lang="ru-RU" sz="1600" dirty="0" smtClean="0"/>
              <a:t>результаты. Например, вы рассматриваете вариант кредита: сумму, срок и процент. Сделаем изначальную таблицу с условиями, где в ячейке </a:t>
            </a:r>
            <a:r>
              <a:rPr lang="en-US" sz="1600" dirty="0" smtClean="0"/>
              <a:t>H6 </a:t>
            </a:r>
            <a:r>
              <a:rPr lang="ru-RU" sz="1600" dirty="0" smtClean="0"/>
              <a:t>будет прописана формула </a:t>
            </a:r>
            <a:r>
              <a:rPr lang="en-US" sz="1600" dirty="0"/>
              <a:t>=(H3+H3*H5)/H4</a:t>
            </a:r>
            <a:r>
              <a:rPr lang="ru-RU" sz="1600" dirty="0" smtClean="0"/>
              <a:t>:</a:t>
            </a:r>
          </a:p>
          <a:p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0" r="24610" b="76297"/>
          <a:stretch/>
        </p:blipFill>
        <p:spPr bwMode="auto">
          <a:xfrm>
            <a:off x="239726" y="3837272"/>
            <a:ext cx="9276179" cy="1445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 bwMode="auto">
          <a:xfrm>
            <a:off x="3841183" y="3816716"/>
            <a:ext cx="687735" cy="309663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7729615" y="4342403"/>
            <a:ext cx="1354242" cy="309663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7781372" y="5127749"/>
            <a:ext cx="1722799" cy="154832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  <a:prstDash val="sysDash"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4" name="Рисунок 13" descr="Вырезка экрана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78" y="1556792"/>
            <a:ext cx="2591162" cy="1400371"/>
          </a:xfrm>
          <a:prstGeom prst="rect">
            <a:avLst/>
          </a:prstGeom>
        </p:spPr>
      </p:pic>
      <p:sp>
        <p:nvSpPr>
          <p:cNvPr id="15" name="Стрелка вправо 14"/>
          <p:cNvSpPr/>
          <p:nvPr/>
        </p:nvSpPr>
        <p:spPr bwMode="auto">
          <a:xfrm>
            <a:off x="2894040" y="2040953"/>
            <a:ext cx="518218" cy="432048"/>
          </a:xfrm>
          <a:prstGeom prst="rightArrow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412257" y="1642004"/>
            <a:ext cx="606511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Подготовим таблицу для заполнения, где </a:t>
            </a:r>
            <a:r>
              <a:rPr lang="en-US" sz="1600" dirty="0" smtClean="0"/>
              <a:t>G</a:t>
            </a:r>
            <a:r>
              <a:rPr lang="ru-RU" sz="1600" dirty="0" smtClean="0"/>
              <a:t>8=</a:t>
            </a:r>
            <a:r>
              <a:rPr lang="en-US" sz="1600" dirty="0" smtClean="0"/>
              <a:t>H6</a:t>
            </a:r>
            <a:r>
              <a:rPr lang="ru-RU" sz="1600" dirty="0" smtClean="0"/>
              <a:t>:</a:t>
            </a:r>
            <a:endParaRPr lang="ru-RU" dirty="0"/>
          </a:p>
        </p:txBody>
      </p:sp>
      <p:pic>
        <p:nvPicPr>
          <p:cNvPr id="17" name="Рисунок 16" descr="Вырезка экрана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7697" y="2040953"/>
            <a:ext cx="3762900" cy="971686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239726" y="3498718"/>
            <a:ext cx="606511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Затем выделяем диапазон будущей таблицы (</a:t>
            </a:r>
            <a:r>
              <a:rPr lang="en-US" sz="1600" dirty="0" smtClean="0"/>
              <a:t>G8</a:t>
            </a:r>
            <a:r>
              <a:rPr lang="ru-RU" sz="1600" dirty="0" smtClean="0"/>
              <a:t>:</a:t>
            </a:r>
            <a:r>
              <a:rPr lang="en-US" sz="1600" dirty="0" smtClean="0"/>
              <a:t>J11)</a:t>
            </a:r>
            <a:r>
              <a:rPr lang="ru-RU" sz="1600" dirty="0" smtClean="0"/>
              <a:t>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8909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Excel: </a:t>
            </a:r>
            <a:r>
              <a:rPr lang="ru-RU" dirty="0" smtClean="0"/>
              <a:t>Анализ данных</a:t>
            </a:r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9351033" cy="703263"/>
          </a:xfrm>
        </p:spPr>
        <p:txBody>
          <a:bodyPr/>
          <a:lstStyle/>
          <a:p>
            <a:r>
              <a:rPr lang="ru-RU" sz="2400" b="1" dirty="0" smtClean="0"/>
              <a:t>Анализ данных: </a:t>
            </a:r>
            <a:r>
              <a:rPr lang="ru-RU" sz="2400" dirty="0" smtClean="0"/>
              <a:t>Что если – таблица данных</a:t>
            </a:r>
            <a:endParaRPr lang="ru-RU" sz="2400" dirty="0"/>
          </a:p>
        </p:txBody>
      </p:sp>
      <p:pic>
        <p:nvPicPr>
          <p:cNvPr id="2" name="Рисунок 1" descr="Таблица данных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094" y="1556792"/>
            <a:ext cx="3086531" cy="1133633"/>
          </a:xfrm>
          <a:prstGeom prst="rect">
            <a:avLst/>
          </a:prstGeom>
        </p:spPr>
      </p:pic>
      <p:pic>
        <p:nvPicPr>
          <p:cNvPr id="12" name="Рисунок 11" descr="Вырезка экрана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4979" y="1561384"/>
            <a:ext cx="3772427" cy="2314898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214254" y="908730"/>
            <a:ext cx="9421451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«Подставлять значение по столбцам в» – в нашем случае это срок кредита.</a:t>
            </a:r>
          </a:p>
          <a:p>
            <a:r>
              <a:rPr lang="ru-RU" sz="1600" dirty="0"/>
              <a:t>«Подставлять значение по </a:t>
            </a:r>
            <a:r>
              <a:rPr lang="ru-RU" sz="1600" dirty="0" smtClean="0"/>
              <a:t>строкам </a:t>
            </a:r>
            <a:r>
              <a:rPr lang="ru-RU" sz="1600" dirty="0"/>
              <a:t>в» – в нашем случае это </a:t>
            </a:r>
            <a:r>
              <a:rPr lang="ru-RU" sz="1600" dirty="0" smtClean="0"/>
              <a:t>процентная ставка.</a:t>
            </a:r>
            <a:endParaRPr lang="ru-RU" dirty="0"/>
          </a:p>
          <a:p>
            <a:endParaRPr lang="ru-RU" dirty="0"/>
          </a:p>
        </p:txBody>
      </p:sp>
      <p:sp>
        <p:nvSpPr>
          <p:cNvPr id="20" name="Стрелка вправо 19"/>
          <p:cNvSpPr/>
          <p:nvPr/>
        </p:nvSpPr>
        <p:spPr bwMode="auto">
          <a:xfrm>
            <a:off x="3658890" y="1907584"/>
            <a:ext cx="1006078" cy="432048"/>
          </a:xfrm>
          <a:prstGeom prst="rightArrow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07469" y="4437112"/>
            <a:ext cx="9421451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В итоге мы получили таблицу данных, которая будет изменяться в зависимости от суммы кредита. </a:t>
            </a:r>
          </a:p>
          <a:p>
            <a:r>
              <a:rPr lang="ru-RU" sz="1600" dirty="0"/>
              <a:t>Таблица данных – это диапазон ячеек, по которому видно, как изменение одной или двух переменных в формулах повлияет на результаты вычисления этих формул. </a:t>
            </a:r>
            <a:endParaRPr lang="ru-RU" sz="1600" dirty="0" smtClean="0"/>
          </a:p>
          <a:p>
            <a:r>
              <a:rPr lang="ru-RU" sz="1600" dirty="0" smtClean="0"/>
              <a:t>Таблицы </a:t>
            </a:r>
            <a:r>
              <a:rPr lang="ru-RU" sz="1600" dirty="0"/>
              <a:t>данных позволяют быстро вычислять несколько результатов за одну операцию, а также просматривать и сравнивать результаты всех вариантов формулы на одном листе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97130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584515" y="980729"/>
            <a:ext cx="8729577" cy="361003"/>
          </a:xfrm>
        </p:spPr>
        <p:txBody>
          <a:bodyPr/>
          <a:lstStyle/>
          <a:p>
            <a:r>
              <a:rPr lang="ru-RU" dirty="0"/>
              <a:t>Комбинации категории "Незаменимые"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Частые и полезные клавиши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1801236"/>
              </p:ext>
            </p:extLst>
          </p:nvPr>
        </p:nvGraphicFramePr>
        <p:xfrm>
          <a:off x="116463" y="1340769"/>
          <a:ext cx="8970996" cy="4901727"/>
        </p:xfrm>
        <a:graphic>
          <a:graphicData uri="http://schemas.openxmlformats.org/drawingml/2006/table">
            <a:tbl>
              <a:tblPr/>
              <a:tblGrid>
                <a:gridCol w="16410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410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889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16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dirty="0">
                          <a:solidFill>
                            <a:srgbClr val="F8F8F8"/>
                          </a:solidFill>
                          <a:effectLst/>
                        </a:rPr>
                        <a:t>Подраздел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dirty="0">
                          <a:solidFill>
                            <a:srgbClr val="F8F8F8"/>
                          </a:solidFill>
                          <a:effectLst/>
                        </a:rPr>
                        <a:t>Комбинация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dirty="0">
                          <a:solidFill>
                            <a:srgbClr val="F8F8F8"/>
                          </a:solidFill>
                          <a:effectLst/>
                        </a:rPr>
                        <a:t>Описание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>
                          <a:effectLst/>
                        </a:rPr>
                        <a:t>Навигация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>
                          <a:effectLst/>
                        </a:rPr>
                        <a:t>Ctrl+</a:t>
                      </a:r>
                      <a:r>
                        <a:rPr lang="ru-RU" sz="1100" dirty="0">
                          <a:effectLst/>
                        </a:rPr>
                        <a:t>Стрелки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Перемещение на край следующего региона данных в направлении стрелки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Навигация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Home</a:t>
                      </a:r>
                      <a:endParaRPr lang="en-US" sz="1100" dirty="0">
                        <a:effectLst/>
                      </a:endParaRP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Перемещение на ячейку A1 или, если закреплены области, на первую ячейку после закрепления.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Навигация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End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Перемещение на нижнюю правую ячейку листа, которая когда-либо содержала данные.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Поиск и замена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f </a:t>
                      </a:r>
                      <a:r>
                        <a:rPr lang="ru-RU" sz="1100">
                          <a:effectLst/>
                        </a:rPr>
                        <a:t>или </a:t>
                      </a:r>
                      <a:r>
                        <a:rPr lang="en-US" sz="1100">
                          <a:effectLst/>
                        </a:rPr>
                        <a:t>Shift+F5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Отобразить диалоговое окно "Найти и заменить" (</a:t>
                      </a:r>
                      <a:r>
                        <a:rPr lang="ru-RU" sz="1100" dirty="0" err="1">
                          <a:effectLst/>
                        </a:rPr>
                        <a:t>Find</a:t>
                      </a:r>
                      <a:r>
                        <a:rPr lang="ru-RU" sz="1100" dirty="0">
                          <a:effectLst/>
                        </a:rPr>
                        <a:t> </a:t>
                      </a:r>
                      <a:r>
                        <a:rPr lang="ru-RU" sz="1100" dirty="0" err="1">
                          <a:effectLst/>
                        </a:rPr>
                        <a:t>and</a:t>
                      </a:r>
                      <a:r>
                        <a:rPr lang="ru-RU" sz="1100" dirty="0">
                          <a:effectLst/>
                        </a:rPr>
                        <a:t> </a:t>
                      </a:r>
                      <a:r>
                        <a:rPr lang="ru-RU" sz="1100" dirty="0" err="1">
                          <a:effectLst/>
                        </a:rPr>
                        <a:t>Replace</a:t>
                      </a:r>
                      <a:r>
                        <a:rPr lang="ru-RU" sz="1100" dirty="0">
                          <a:effectLst/>
                        </a:rPr>
                        <a:t>) при этом активна страница Найти (</a:t>
                      </a:r>
                      <a:r>
                        <a:rPr lang="ru-RU" sz="1100" dirty="0" err="1">
                          <a:effectLst/>
                        </a:rPr>
                        <a:t>Find</a:t>
                      </a:r>
                      <a:r>
                        <a:rPr lang="ru-RU" sz="1100" dirty="0">
                          <a:effectLst/>
                        </a:rPr>
                        <a:t>)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>
                          <a:effectLst/>
                        </a:rPr>
                        <a:t>Поиск и замена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h</a:t>
                      </a:r>
                      <a:endParaRPr lang="en-US" sz="1100" dirty="0">
                        <a:effectLst/>
                      </a:endParaRP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Отобразить диалоговое окно "Найти и заменить" (</a:t>
                      </a:r>
                      <a:r>
                        <a:rPr lang="ru-RU" sz="1100" dirty="0" err="1">
                          <a:effectLst/>
                        </a:rPr>
                        <a:t>Find</a:t>
                      </a:r>
                      <a:r>
                        <a:rPr lang="ru-RU" sz="1100" dirty="0">
                          <a:effectLst/>
                        </a:rPr>
                        <a:t> </a:t>
                      </a:r>
                      <a:r>
                        <a:rPr lang="ru-RU" sz="1100" dirty="0" err="1">
                          <a:effectLst/>
                        </a:rPr>
                        <a:t>and</a:t>
                      </a:r>
                      <a:r>
                        <a:rPr lang="ru-RU" sz="1100" dirty="0">
                          <a:effectLst/>
                        </a:rPr>
                        <a:t> </a:t>
                      </a:r>
                      <a:r>
                        <a:rPr lang="ru-RU" sz="1100" dirty="0" err="1">
                          <a:effectLst/>
                        </a:rPr>
                        <a:t>Replace</a:t>
                      </a:r>
                      <a:r>
                        <a:rPr lang="ru-RU" sz="1100" dirty="0">
                          <a:effectLst/>
                        </a:rPr>
                        <a:t>) при этом активна страница Заменить (</a:t>
                      </a:r>
                      <a:r>
                        <a:rPr lang="ru-RU" sz="1100" dirty="0" err="1">
                          <a:effectLst/>
                        </a:rPr>
                        <a:t>Replace</a:t>
                      </a:r>
                      <a:r>
                        <a:rPr lang="ru-RU" sz="1100" dirty="0">
                          <a:effectLst/>
                        </a:rPr>
                        <a:t>)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13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Буфер обмена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c </a:t>
                      </a:r>
                      <a:r>
                        <a:rPr lang="ru-RU" sz="1100">
                          <a:effectLst/>
                        </a:rPr>
                        <a:t>или </a:t>
                      </a:r>
                      <a:r>
                        <a:rPr lang="en-US" sz="1100">
                          <a:effectLst/>
                        </a:rPr>
                        <a:t>Ctrl+Insert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Копирование выделенного диапазона или текущей ячейки в буфер обмена. Нажимать удобнее вторую комбинацию.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>
                          <a:effectLst/>
                        </a:rPr>
                        <a:t>Буфер обмена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x</a:t>
                      </a:r>
                      <a:r>
                        <a:rPr lang="en-US" sz="1100" dirty="0">
                          <a:effectLst/>
                        </a:rPr>
                        <a:t> </a:t>
                      </a:r>
                      <a:r>
                        <a:rPr lang="ru-RU" sz="1100" dirty="0">
                          <a:effectLst/>
                        </a:rPr>
                        <a:t>или </a:t>
                      </a:r>
                      <a:r>
                        <a:rPr lang="en-US" sz="1100" dirty="0" err="1">
                          <a:effectLst/>
                        </a:rPr>
                        <a:t>Shift+Delete</a:t>
                      </a:r>
                      <a:endParaRPr lang="en-US" sz="1100" dirty="0">
                        <a:effectLst/>
                      </a:endParaRP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Вырезать выделенный диапазон в буфер обмена. Нажимать удобнее вторую комбинацию.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Буфер обмена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v </a:t>
                      </a:r>
                      <a:r>
                        <a:rPr lang="ru-RU" sz="1100">
                          <a:effectLst/>
                        </a:rPr>
                        <a:t>или </a:t>
                      </a:r>
                      <a:r>
                        <a:rPr lang="en-US" sz="1100">
                          <a:effectLst/>
                        </a:rPr>
                        <a:t>Shift+Insert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Вставить содержимое буфера обмена в текущую ячейку. Нажимать удобнее вторую комбинацию.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нутри ячейки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F2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Переход в режим редактирования содержимого активной ячейки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нутри ячейки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Home / End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Перемещение курсора на начало/конец строки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нутри ячейки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Alt+Enter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 err="1">
                          <a:effectLst/>
                        </a:rPr>
                        <a:t>Вствка</a:t>
                      </a:r>
                      <a:r>
                        <a:rPr lang="ru-RU" sz="1100" dirty="0">
                          <a:effectLst/>
                        </a:rPr>
                        <a:t> символа перевода строки при редактировании содержимого ячейки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Отмена / возврат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z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Отмена последнего действия (или нескольких последних действий)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Скрытие / показ элементов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Alt+Shift+</a:t>
                      </a:r>
                      <a:r>
                        <a:rPr lang="ru-RU" sz="1100">
                          <a:effectLst/>
                        </a:rPr>
                        <a:t>Стрелка вправо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Группировка строк или столбцов (в том числе в сводных таблицах)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1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Скрытие / показ элементов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Alt+Shift</a:t>
                      </a:r>
                      <a:r>
                        <a:rPr lang="en-US" sz="1100" dirty="0">
                          <a:effectLst/>
                        </a:rPr>
                        <a:t>+</a:t>
                      </a:r>
                      <a:r>
                        <a:rPr lang="ru-RU" sz="1100" dirty="0">
                          <a:effectLst/>
                        </a:rPr>
                        <a:t>Стрелка влево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 err="1">
                          <a:effectLst/>
                        </a:rPr>
                        <a:t>Разгруппировка</a:t>
                      </a:r>
                      <a:r>
                        <a:rPr lang="ru-RU" sz="1100" dirty="0">
                          <a:effectLst/>
                        </a:rPr>
                        <a:t> строк или столбцов (в том числе в сводных таблицах)</a:t>
                      </a:r>
                    </a:p>
                  </a:txBody>
                  <a:tcPr marL="12125" marR="12125" marT="11192" marB="11192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9" name="Нижний колонтитул 3"/>
          <p:cNvSpPr txBox="1">
            <a:spLocks/>
          </p:cNvSpPr>
          <p:nvPr/>
        </p:nvSpPr>
        <p:spPr>
          <a:xfrm>
            <a:off x="287666" y="6248070"/>
            <a:ext cx="6417933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>
              <a:defRPr lang="ru-RU" sz="800" i="0" dirty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xcel: </a:t>
            </a:r>
            <a:r>
              <a:rPr lang="ru-RU" dirty="0"/>
              <a:t>Анализ данных</a:t>
            </a:r>
          </a:p>
        </p:txBody>
      </p:sp>
    </p:spTree>
    <p:extLst>
      <p:ext uri="{BB962C8B-B14F-4D97-AF65-F5344CB8AC3E}">
        <p14:creationId xmlns:p14="http://schemas.microsoft.com/office/powerpoint/2010/main" val="1504744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Комбинации категории "Незаменимые"</a:t>
            </a:r>
          </a:p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Частые и полезные клавиши</a:t>
            </a:r>
          </a:p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7537742"/>
              </p:ext>
            </p:extLst>
          </p:nvPr>
        </p:nvGraphicFramePr>
        <p:xfrm>
          <a:off x="506506" y="1412776"/>
          <a:ext cx="8736972" cy="4714612"/>
        </p:xfrm>
        <a:graphic>
          <a:graphicData uri="http://schemas.openxmlformats.org/drawingml/2006/table">
            <a:tbl>
              <a:tblPr/>
              <a:tblGrid>
                <a:gridCol w="22622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842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904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93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>
                          <a:effectLst/>
                        </a:rPr>
                        <a:t>Выделение диапазонов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a </a:t>
                      </a:r>
                      <a:r>
                        <a:rPr lang="ru-RU" sz="1100">
                          <a:effectLst/>
                        </a:rPr>
                        <a:t>или </a:t>
                      </a:r>
                      <a:r>
                        <a:rPr lang="en-US" sz="1100">
                          <a:effectLst/>
                        </a:rPr>
                        <a:t>Ctrl+Shift+</a:t>
                      </a:r>
                      <a:r>
                        <a:rPr lang="ru-RU" sz="1100">
                          <a:effectLst/>
                        </a:rPr>
                        <a:t>Пробел или </a:t>
                      </a:r>
                      <a:r>
                        <a:rPr lang="en-US" sz="1100">
                          <a:effectLst/>
                        </a:rPr>
                        <a:t>Ctrl+Shift+8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деление текущего региона, если лист содержит данные. Если данных нет или комбинация нажата повторно, то выделение всего листа.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96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атирование ячеек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1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зов диалога Формат ячеек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27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>
                          <a:effectLst/>
                        </a:rPr>
                        <a:t>Форматирование ячеек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b</a:t>
                      </a:r>
                      <a:r>
                        <a:rPr lang="en-US" sz="1100" dirty="0">
                          <a:effectLst/>
                        </a:rPr>
                        <a:t> </a:t>
                      </a:r>
                      <a:r>
                        <a:rPr lang="ru-RU" sz="1100" dirty="0">
                          <a:effectLst/>
                        </a:rPr>
                        <a:t>или </a:t>
                      </a:r>
                      <a:r>
                        <a:rPr lang="en-US" sz="1100" dirty="0">
                          <a:effectLst/>
                        </a:rPr>
                        <a:t>Ctrl+2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ключение / отключение полужирного начертания шрифта в выделенном диапазоне или внутри текста ячейки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27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атирование ячеек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i</a:t>
                      </a:r>
                      <a:r>
                        <a:rPr lang="en-US" sz="1100" dirty="0">
                          <a:effectLst/>
                        </a:rPr>
                        <a:t> </a:t>
                      </a:r>
                      <a:r>
                        <a:rPr lang="ru-RU" sz="1100" dirty="0">
                          <a:effectLst/>
                        </a:rPr>
                        <a:t>или </a:t>
                      </a:r>
                      <a:r>
                        <a:rPr lang="en-US" sz="1100" dirty="0">
                          <a:effectLst/>
                        </a:rPr>
                        <a:t>Ctrl+3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ключение / отключение курсива в выделенном диапазоне или внутри текста ячейки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96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Именованные диапазоны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>
                          <a:effectLst/>
                        </a:rPr>
                        <a:t>Ctrl+F3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зов Диспетчера имен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96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Именованные диапазоны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>
                          <a:effectLst/>
                        </a:rPr>
                        <a:t>F3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зов Вставка имени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96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улы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>
                          <a:effectLst/>
                        </a:rPr>
                        <a:t>=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Начало ввода формулы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15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улы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Shift+Enter</a:t>
                      </a:r>
                      <a:endParaRPr lang="en-US" sz="1100" dirty="0">
                        <a:effectLst/>
                      </a:endParaRP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Ввод в диапазон ячеек формулы массива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593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улы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>
                          <a:effectLst/>
                        </a:rPr>
                        <a:t>F4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Циклическое переключение между типами адреса ячейки, на котором стоит курсор при вводе формулы. Цикл такой: $A$1 -&gt; A$1 -&gt; $A1 -&gt; A1.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6187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F1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Минимизация или восстановление ленты меню </a:t>
                      </a:r>
                      <a:r>
                        <a:rPr lang="ru-RU" sz="1100" dirty="0" err="1">
                          <a:effectLst/>
                        </a:rPr>
                        <a:t>Excel</a:t>
                      </a:r>
                      <a:endParaRPr lang="ru-RU" sz="1100" dirty="0">
                        <a:effectLst/>
                      </a:endParaRP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6187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Page Down / Ctrl+Page Up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Перемещение на лист слева / справа от текущего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227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Автофильтр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Shift+L</a:t>
                      </a:r>
                      <a:endParaRPr lang="en-US" sz="1100" dirty="0">
                        <a:effectLst/>
                      </a:endParaRP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 err="1">
                          <a:effectLst/>
                        </a:rPr>
                        <a:t>Приминение</a:t>
                      </a:r>
                      <a:r>
                        <a:rPr lang="ru-RU" sz="1100" dirty="0">
                          <a:effectLst/>
                        </a:rPr>
                        <a:t> / отмена </a:t>
                      </a:r>
                      <a:r>
                        <a:rPr lang="ru-RU" sz="1100" dirty="0" err="1">
                          <a:effectLst/>
                        </a:rPr>
                        <a:t>автофильтра</a:t>
                      </a:r>
                      <a:r>
                        <a:rPr lang="ru-RU" sz="1100" dirty="0">
                          <a:effectLst/>
                        </a:rPr>
                        <a:t> к текущей таблице или к выделенному диапазону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1568">
                <a:tc>
                  <a:txBody>
                    <a:bodyPr/>
                    <a:lstStyle/>
                    <a:p>
                      <a:pPr algn="ctr" fontAlgn="ctr"/>
                      <a:endParaRPr lang="ru-RU" sz="1100" dirty="0">
                        <a:effectLst/>
                      </a:endParaRP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F4 </a:t>
                      </a:r>
                      <a:r>
                        <a:rPr lang="ru-RU" sz="1100">
                          <a:effectLst/>
                        </a:rPr>
                        <a:t>или </a:t>
                      </a:r>
                      <a:r>
                        <a:rPr lang="en-US" sz="1100">
                          <a:effectLst/>
                        </a:rPr>
                        <a:t>Ctrl+y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Повтор вашего последнего действия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49609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o (</a:t>
                      </a:r>
                      <a:r>
                        <a:rPr lang="ru-RU" sz="1100">
                          <a:effectLst/>
                        </a:rPr>
                        <a:t>буква)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Диалог открытия файла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49609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 </a:t>
                      </a:r>
                      <a:r>
                        <a:rPr lang="ru-RU" sz="1100">
                          <a:effectLst/>
                        </a:rPr>
                        <a:t>или </a:t>
                      </a:r>
                      <a:r>
                        <a:rPr lang="en-US" sz="1100">
                          <a:effectLst/>
                        </a:rPr>
                        <a:t>Shift+F12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Сохранение текущей книги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86187">
                <a:tc>
                  <a:txBody>
                    <a:bodyPr/>
                    <a:lstStyle/>
                    <a:p>
                      <a:pPr algn="ctr" fontAlgn="ctr"/>
                      <a:endParaRPr lang="ru-RU" sz="1100" dirty="0">
                        <a:effectLst/>
                      </a:endParaRP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Alt+F11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dirty="0" err="1">
                          <a:effectLst/>
                        </a:rPr>
                        <a:t>Вызов</a:t>
                      </a:r>
                      <a:r>
                        <a:rPr lang="en-US" sz="1100" dirty="0">
                          <a:effectLst/>
                        </a:rPr>
                        <a:t> </a:t>
                      </a:r>
                      <a:r>
                        <a:rPr lang="en-US" sz="1100" dirty="0" err="1">
                          <a:effectLst/>
                        </a:rPr>
                        <a:t>редактора</a:t>
                      </a:r>
                      <a:r>
                        <a:rPr lang="en-US" sz="1100" dirty="0">
                          <a:effectLst/>
                        </a:rPr>
                        <a:t> Visual Basic for Applications</a:t>
                      </a:r>
                    </a:p>
                  </a:txBody>
                  <a:tcPr marL="8662" marR="8662" marT="7996" marB="7996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8" name="Нижний колонтитул 3"/>
          <p:cNvSpPr txBox="1">
            <a:spLocks/>
          </p:cNvSpPr>
          <p:nvPr/>
        </p:nvSpPr>
        <p:spPr>
          <a:xfrm>
            <a:off x="287666" y="6248070"/>
            <a:ext cx="6417933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>
              <a:defRPr lang="ru-RU" sz="800" i="0" dirty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xcel: </a:t>
            </a:r>
            <a:r>
              <a:rPr lang="ru-RU" dirty="0"/>
              <a:t>Анализ данных</a:t>
            </a:r>
          </a:p>
        </p:txBody>
      </p:sp>
    </p:spTree>
    <p:extLst>
      <p:ext uri="{BB962C8B-B14F-4D97-AF65-F5344CB8AC3E}">
        <p14:creationId xmlns:p14="http://schemas.microsoft.com/office/powerpoint/2010/main" val="4192572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Комбинации категории "Полезные"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Частые и полезные клавиши</a:t>
            </a:r>
          </a:p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7603781"/>
              </p:ext>
            </p:extLst>
          </p:nvPr>
        </p:nvGraphicFramePr>
        <p:xfrm>
          <a:off x="584515" y="1412776"/>
          <a:ext cx="8658962" cy="4694511"/>
        </p:xfrm>
        <a:graphic>
          <a:graphicData uri="http://schemas.openxmlformats.org/drawingml/2006/table">
            <a:tbl>
              <a:tblPr/>
              <a:tblGrid>
                <a:gridCol w="15839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839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4910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73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dirty="0">
                          <a:solidFill>
                            <a:srgbClr val="F8F8F8"/>
                          </a:solidFill>
                          <a:effectLst/>
                        </a:rPr>
                        <a:t>Подраздел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dirty="0">
                          <a:solidFill>
                            <a:srgbClr val="F8F8F8"/>
                          </a:solidFill>
                          <a:effectLst/>
                        </a:rPr>
                        <a:t>Комбинация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dirty="0">
                          <a:solidFill>
                            <a:srgbClr val="F8F8F8"/>
                          </a:solidFill>
                          <a:effectLst/>
                        </a:rPr>
                        <a:t>Описание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Навигация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Alt+Page Down / Alt+Page Up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Сдвиг на один экран вправо/влево на рабочем листе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52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Навигация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Home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мещение на первый столбец текущей строки. Если закреплены области, то перемещение на первый столбец после закрепления.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Навигация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F5 </a:t>
                      </a:r>
                      <a:r>
                        <a:rPr lang="ru-RU" sz="1100">
                          <a:effectLst/>
                        </a:rPr>
                        <a:t>или </a:t>
                      </a:r>
                      <a:r>
                        <a:rPr lang="en-US" sz="1100">
                          <a:effectLst/>
                        </a:rPr>
                        <a:t>Ctrl+g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зов диалогового окна Переход (Go To)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Поиск и замена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Shift+F4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овторить последний поиск из диалога Найти и заменить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Буфер обмена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Alt+v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вод диалогового окна специальной вставки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91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нутри ячейки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</a:t>
                      </a:r>
                      <a:r>
                        <a:rPr lang="ru-RU" sz="1100">
                          <a:effectLst/>
                        </a:rPr>
                        <a:t>Стрелка влево / </a:t>
                      </a:r>
                      <a:r>
                        <a:rPr lang="en-US" sz="1100">
                          <a:effectLst/>
                        </a:rPr>
                        <a:t>Ctrl+</a:t>
                      </a:r>
                      <a:r>
                        <a:rPr lang="ru-RU" sz="1100">
                          <a:effectLst/>
                        </a:rPr>
                        <a:t>Стрелка вправо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мещение курсора на 1 слово влево/вправо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нутри ячейки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Tab / Shift+Tab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Сдвиг на одну ячейку вправо/влево после завершения редактирования ячейки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нутри ячейки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Delete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Удаление текста от курсора и до конца строки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нутри ячейки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4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ставка текущей даты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нутри ячейки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6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ставка текущего времени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Редактирование диапазона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d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ерхняя строка выделения копируется на всю выделенную область вниз. Можно использовать для протяжки формул.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Редактирование диапазона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r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Левый столбец выделения копируется на всю выделенную область вправо. Можно использовать для протяжки формул.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1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Редактирование диапазона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L </a:t>
                      </a:r>
                      <a:r>
                        <a:rPr lang="ru-RU" sz="1100">
                          <a:effectLst/>
                        </a:rPr>
                        <a:t>или </a:t>
                      </a:r>
                      <a:r>
                        <a:rPr lang="en-US" sz="1100">
                          <a:effectLst/>
                        </a:rPr>
                        <a:t>Ctrl+t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ставка умной таблицы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631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Редактирование диапазона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- (</a:t>
                      </a:r>
                      <a:r>
                        <a:rPr lang="ru-RU" sz="1100">
                          <a:effectLst/>
                        </a:rPr>
                        <a:t>минус)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Если выделен столбец или строка, то удаление столбца или строки. Если выделен диапазон, то вывод на экран диалогового окна с возможностью выбора направления сдвига при удалении и того, что нужно удалить (строки/столбцы).</a:t>
                      </a:r>
                    </a:p>
                  </a:txBody>
                  <a:tcPr marL="10540" marR="10540" marT="9729" marB="9729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8" name="Нижний колонтитул 3"/>
          <p:cNvSpPr txBox="1">
            <a:spLocks/>
          </p:cNvSpPr>
          <p:nvPr/>
        </p:nvSpPr>
        <p:spPr>
          <a:xfrm>
            <a:off x="287666" y="6248070"/>
            <a:ext cx="6417933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>
              <a:defRPr lang="ru-RU" sz="800" i="0" dirty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xcel: </a:t>
            </a:r>
            <a:r>
              <a:rPr lang="ru-RU" dirty="0"/>
              <a:t>Анализ данных</a:t>
            </a:r>
          </a:p>
        </p:txBody>
      </p:sp>
    </p:spTree>
    <p:extLst>
      <p:ext uri="{BB962C8B-B14F-4D97-AF65-F5344CB8AC3E}">
        <p14:creationId xmlns:p14="http://schemas.microsoft.com/office/powerpoint/2010/main" val="191816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Комбинации категории "Полезные"</a:t>
            </a:r>
          </a:p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Ч</a:t>
            </a:r>
            <a:r>
              <a:rPr lang="ru-RU" dirty="0" smtClean="0">
                <a:solidFill>
                  <a:srgbClr val="008080"/>
                </a:solidFill>
              </a:rPr>
              <a:t>астые </a:t>
            </a:r>
            <a:r>
              <a:rPr lang="ru-RU" dirty="0">
                <a:solidFill>
                  <a:srgbClr val="008080"/>
                </a:solidFill>
              </a:rPr>
              <a:t>и </a:t>
            </a:r>
            <a:r>
              <a:rPr lang="ru-RU" dirty="0" smtClean="0">
                <a:solidFill>
                  <a:srgbClr val="008080"/>
                </a:solidFill>
              </a:rPr>
              <a:t>полезные </a:t>
            </a:r>
            <a:r>
              <a:rPr lang="ru-RU" dirty="0">
                <a:solidFill>
                  <a:srgbClr val="008080"/>
                </a:solidFill>
              </a:rPr>
              <a:t>клавиши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5367530"/>
              </p:ext>
            </p:extLst>
          </p:nvPr>
        </p:nvGraphicFramePr>
        <p:xfrm>
          <a:off x="584515" y="1412776"/>
          <a:ext cx="8658965" cy="4279280"/>
        </p:xfrm>
        <a:graphic>
          <a:graphicData uri="http://schemas.openxmlformats.org/drawingml/2006/table">
            <a:tbl>
              <a:tblPr/>
              <a:tblGrid>
                <a:gridCol w="23402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381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805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342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>
                          <a:effectLst/>
                        </a:rPr>
                        <a:t>Редактирование диапазон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Shift</a:t>
                      </a:r>
                      <a:r>
                        <a:rPr lang="en-US" sz="1100" dirty="0">
                          <a:effectLst/>
                        </a:rPr>
                        <a:t>+=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Если выделен столбец или строка, то вставка столбца или строки перед выделением. Если выделен диапазон, то вывод на экран диалогового окна с возможностью выбора направления сдвига при вставке и того, что нужно вставить (строки/столбцы).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71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Редактирование диапазон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Shift+F2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ставка или редактирование существующего комментария к ячейке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96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Редактирование диапазон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Alt+F1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ставка диаграммы на основе выделенного диапазона ячеек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96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Редактирование диапазон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F11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ставка диаграммы на отдельный лист по текущему региону данных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47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Редактирование диапазон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k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ставка гиперссылки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47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Скрытие / показ элемент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9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Скрыть строку активной ячейки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71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Скрытие / показ элемент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9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оказать все скрытые строки внутри выделенного диапазон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47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Скрытие / показ элемент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0 (</a:t>
                      </a:r>
                      <a:r>
                        <a:rPr lang="ru-RU" sz="1100">
                          <a:effectLst/>
                        </a:rPr>
                        <a:t>ноль)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Скрыть столбец активной ячейки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71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Скрытие / показ элемент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0 (</a:t>
                      </a:r>
                      <a:r>
                        <a:rPr lang="ru-RU" sz="1100">
                          <a:effectLst/>
                        </a:rPr>
                        <a:t>ноль)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оказать все скрытые столбцы внутри выделенного диапазон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92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Скрытие / показ элемент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6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Переключение между скрытием всех графических объектов на листе (фигуры, кнопки, флажки и т.п.) и их показом. В режиме скрытия также нельзя вставить ни один из подобных объектов - пункты меню недоступны.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71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Скрытие / показ элемент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8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Спрятать / показать элементы управления группировкой на листе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847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ыделение диапазон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Shift+</a:t>
                      </a:r>
                      <a:r>
                        <a:rPr lang="ru-RU" sz="1100">
                          <a:effectLst/>
                        </a:rPr>
                        <a:t>Пробел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деление текущей строки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847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ыделение диапазон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</a:t>
                      </a:r>
                      <a:r>
                        <a:rPr lang="ru-RU" sz="1100">
                          <a:effectLst/>
                        </a:rPr>
                        <a:t>Пробел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деление текущего столбц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96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ыделение диапазон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Page Up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деление текущего и предыдущего лист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222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ыделение диапазон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Page Down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деление текущего и следующего лист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222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ыделение диапазон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o (</a:t>
                      </a:r>
                      <a:r>
                        <a:rPr lang="ru-RU" sz="1100">
                          <a:effectLst/>
                        </a:rPr>
                        <a:t>лат. буква)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деление всех ячеек с комментариями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96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ыделение диапазон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Home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деление диапазона от текущей ячейки и до начала лист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96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Выделение диапазонов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End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Выделение диапазона от текущей ячейки и до конца листа</a:t>
                      </a:r>
                    </a:p>
                  </a:txBody>
                  <a:tcPr marL="5339" marR="5339" marT="4928" marB="4928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sp>
        <p:nvSpPr>
          <p:cNvPr id="8" name="Нижний колонтитул 3"/>
          <p:cNvSpPr txBox="1">
            <a:spLocks/>
          </p:cNvSpPr>
          <p:nvPr/>
        </p:nvSpPr>
        <p:spPr>
          <a:xfrm>
            <a:off x="287666" y="6248070"/>
            <a:ext cx="6417933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>
              <a:defRPr lang="ru-RU" sz="800" i="0" dirty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xcel: </a:t>
            </a:r>
            <a:r>
              <a:rPr lang="ru-RU" dirty="0"/>
              <a:t>Анализ данных</a:t>
            </a:r>
          </a:p>
        </p:txBody>
      </p:sp>
    </p:spTree>
    <p:extLst>
      <p:ext uri="{BB962C8B-B14F-4D97-AF65-F5344CB8AC3E}">
        <p14:creationId xmlns:p14="http://schemas.microsoft.com/office/powerpoint/2010/main" val="1182188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Комбинации категории "Полезные"</a:t>
            </a:r>
          </a:p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Частые и полезные клавиши</a:t>
            </a:r>
          </a:p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4718609"/>
              </p:ext>
            </p:extLst>
          </p:nvPr>
        </p:nvGraphicFramePr>
        <p:xfrm>
          <a:off x="584515" y="1412776"/>
          <a:ext cx="8658962" cy="4651722"/>
        </p:xfrm>
        <a:graphic>
          <a:graphicData uri="http://schemas.openxmlformats.org/drawingml/2006/table">
            <a:tbl>
              <a:tblPr/>
              <a:tblGrid>
                <a:gridCol w="18722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2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344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35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>
                          <a:effectLst/>
                        </a:rPr>
                        <a:t>Работа </a:t>
                      </a:r>
                      <a:r>
                        <a:rPr lang="ru-RU" sz="1100" dirty="0" err="1">
                          <a:effectLst/>
                        </a:rPr>
                        <a:t>внути</a:t>
                      </a:r>
                      <a:r>
                        <a:rPr lang="ru-RU" sz="1100" dirty="0">
                          <a:effectLst/>
                        </a:rPr>
                        <a:t> ячейки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</a:t>
                      </a:r>
                      <a:r>
                        <a:rPr lang="ru-RU" sz="1100">
                          <a:effectLst/>
                        </a:rPr>
                        <a:t>Стрелка влево/ </a:t>
                      </a:r>
                      <a:r>
                        <a:rPr lang="en-US" sz="1100">
                          <a:effectLst/>
                        </a:rPr>
                        <a:t>Ctrl+Shift+</a:t>
                      </a:r>
                      <a:r>
                        <a:rPr lang="ru-RU" sz="1100">
                          <a:effectLst/>
                        </a:rPr>
                        <a:t>Стрелка вправо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деление или снятие выделения слова слева / справа от курсора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41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Работа внути ячейки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Shift+Home / Shift+End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деление от текущего положения курсора до начала строки / до конца строки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35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Именованные диапазоны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F3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зов Создание имен из выделенного диапазона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3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улы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Shift+F3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Диалоговое окно Вставка функции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47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улы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a</a:t>
                      </a:r>
                      <a:endParaRPr lang="en-US" sz="1100" dirty="0">
                        <a:effectLst/>
                      </a:endParaRP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ход к диалоговому окну задания аргументов функции после того, как вы ввели её имя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29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улы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F9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счёт формул во всех открытых книгах Excel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23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улы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Shift+F9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счет формул на активном листе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047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Формулы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u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Раскрыть широко / вернуть к обычному виду строку редактирования формул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88331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Alt / F10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ход в режим управления меню с клавиатуры, когда все элементы интерфейса подсвечиваются некоторой буквой и нажимая эти буквы можно перемещаться по меню и вызывать команды.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3583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Shift+F10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зов вспомогательного меню активного объекта Excel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2396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Shift+F11 / Alt+Shift+F1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ставка нового листа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2989">
                <a:tc>
                  <a:txBody>
                    <a:bodyPr/>
                    <a:lstStyle/>
                    <a:p>
                      <a:pPr algn="ctr" fontAlgn="ctr"/>
                      <a:endParaRPr lang="ru-RU" sz="1100" dirty="0">
                        <a:effectLst/>
                      </a:endParaRP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Shift+Page Down / Ctrl+Shift+Page Up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Выделение текущего листа и листа слева / справа</a:t>
                      </a:r>
                    </a:p>
                  </a:txBody>
                  <a:tcPr marL="11488" marR="11488" marT="10604" marB="10604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8" name="Нижний колонтитул 3"/>
          <p:cNvSpPr txBox="1">
            <a:spLocks/>
          </p:cNvSpPr>
          <p:nvPr/>
        </p:nvSpPr>
        <p:spPr>
          <a:xfrm>
            <a:off x="287666" y="6248070"/>
            <a:ext cx="6417933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>
              <a:defRPr lang="ru-RU" sz="800" i="0" dirty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xcel: </a:t>
            </a:r>
            <a:r>
              <a:rPr lang="ru-RU" dirty="0"/>
              <a:t>Анализ данных</a:t>
            </a:r>
          </a:p>
        </p:txBody>
      </p:sp>
    </p:spTree>
    <p:extLst>
      <p:ext uri="{BB962C8B-B14F-4D97-AF65-F5344CB8AC3E}">
        <p14:creationId xmlns:p14="http://schemas.microsoft.com/office/powerpoint/2010/main" val="3086325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Комбинации категории "Полезные"</a:t>
            </a:r>
          </a:p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>
                <a:solidFill>
                  <a:srgbClr val="008080"/>
                </a:solidFill>
              </a:rPr>
              <a:t>Частые и полезные клавиши</a:t>
            </a:r>
          </a:p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944576"/>
              </p:ext>
            </p:extLst>
          </p:nvPr>
        </p:nvGraphicFramePr>
        <p:xfrm>
          <a:off x="584515" y="1549714"/>
          <a:ext cx="8736972" cy="4389025"/>
        </p:xfrm>
        <a:graphic>
          <a:graphicData uri="http://schemas.openxmlformats.org/drawingml/2006/table">
            <a:tbl>
              <a:tblPr/>
              <a:tblGrid>
                <a:gridCol w="19502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842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025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57911">
                <a:tc>
                  <a:txBody>
                    <a:bodyPr/>
                    <a:lstStyle/>
                    <a:p>
                      <a:pPr algn="ctr" fontAlgn="ctr"/>
                      <a:endParaRPr lang="ru-RU" sz="1100" dirty="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F6 / Shift+F6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мещение на следующую / предыдущую области книги (когда книгу делят на области для независимого перемещения по книге в каждой области)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180">
                <a:tc>
                  <a:txBody>
                    <a:bodyPr/>
                    <a:lstStyle/>
                    <a:p>
                      <a:pPr algn="ctr" fontAlgn="ctr"/>
                      <a:endParaRPr lang="ru-RU" sz="1100" dirty="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F4 </a:t>
                      </a:r>
                      <a:r>
                        <a:rPr lang="ru-RU" sz="1100">
                          <a:effectLst/>
                        </a:rPr>
                        <a:t>или </a:t>
                      </a:r>
                      <a:r>
                        <a:rPr lang="en-US" sz="1100">
                          <a:effectLst/>
                        </a:rPr>
                        <a:t>Ctrl+w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Закрытие текущей книги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9180">
                <a:tc>
                  <a:txBody>
                    <a:bodyPr/>
                    <a:lstStyle/>
                    <a:p>
                      <a:pPr algn="ctr" fontAlgn="ctr"/>
                      <a:endParaRPr lang="ru-RU" sz="1100" dirty="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n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Создание новой книги </a:t>
                      </a:r>
                      <a:r>
                        <a:rPr lang="en-US" sz="1100">
                          <a:effectLst/>
                        </a:rPr>
                        <a:t>Excel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6363">
                <a:tc>
                  <a:txBody>
                    <a:bodyPr/>
                    <a:lstStyle/>
                    <a:p>
                      <a:pPr algn="ctr" fontAlgn="ctr"/>
                      <a:endParaRPr lang="ru-RU" sz="1100" dirty="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Tab / Ctrl+Shift+Tab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ключение на окно следующей / предыдущей книги Excel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6363">
                <a:tc>
                  <a:txBody>
                    <a:bodyPr/>
                    <a:lstStyle/>
                    <a:p>
                      <a:pPr algn="ctr" fontAlgn="ctr"/>
                      <a:endParaRPr lang="ru-RU" sz="1100" dirty="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F6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ключение на окно следующей / предыдущей книги Excel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99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dirty="0" err="1">
                          <a:effectLst/>
                        </a:rPr>
                        <a:t>Автофильтр</a:t>
                      </a:r>
                      <a:endParaRPr lang="ru-RU" sz="1100" dirty="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>
                          <a:effectLst/>
                        </a:rPr>
                        <a:t>Alt+</a:t>
                      </a:r>
                      <a:r>
                        <a:rPr lang="ru-RU" sz="1100" dirty="0">
                          <a:effectLst/>
                        </a:rPr>
                        <a:t>Стрелка вниз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вод списка автозаполнения или значений списка, если в ячейке есть фильтр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63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Графика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>
                          <a:effectLst/>
                        </a:rPr>
                        <a:t>Alt+F10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анель управления элементами управления на листе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99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Диалоги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 err="1">
                          <a:effectLst/>
                        </a:rPr>
                        <a:t>Ctrl+Tab</a:t>
                      </a:r>
                      <a:r>
                        <a:rPr lang="en-US" sz="1100" dirty="0">
                          <a:effectLst/>
                        </a:rPr>
                        <a:t> / </a:t>
                      </a:r>
                      <a:r>
                        <a:rPr lang="en-US" sz="1100" dirty="0" err="1">
                          <a:effectLst/>
                        </a:rPr>
                        <a:t>Ctrl+Shift+Tab</a:t>
                      </a:r>
                      <a:endParaRPr lang="en-US" sz="1100" dirty="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ключения между страницами диалоговых окон в прямом / обратном порядке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99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>
                          <a:effectLst/>
                        </a:rPr>
                        <a:t>Диалоги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>
                          <a:effectLst/>
                        </a:rPr>
                        <a:t>a ... z, </a:t>
                      </a:r>
                      <a:r>
                        <a:rPr lang="ru-RU" sz="1100" dirty="0">
                          <a:effectLst/>
                        </a:rPr>
                        <a:t>а…я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Перемещение в списке выбора / фильтре на элемент, начинающийся на введенную букву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9180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F12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зов диалога Сохранение как…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9180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>
                          <a:effectLst/>
                        </a:rPr>
                        <a:t>Alt+F2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>
                          <a:effectLst/>
                        </a:rPr>
                        <a:t>Вызов диалога Сохранение как…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89180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>
                          <a:effectLst/>
                        </a:rPr>
                        <a:t>Ctrl+p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Открытие диалога печати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F8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9180">
                <a:tc>
                  <a:txBody>
                    <a:bodyPr/>
                    <a:lstStyle/>
                    <a:p>
                      <a:pPr algn="ctr" fontAlgn="ctr"/>
                      <a:endParaRPr lang="ru-RU" sz="1100">
                        <a:effectLst/>
                      </a:endParaRP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dirty="0">
                          <a:effectLst/>
                        </a:rPr>
                        <a:t>F7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dirty="0">
                          <a:effectLst/>
                        </a:rPr>
                        <a:t>Проверка орфографии</a:t>
                      </a:r>
                    </a:p>
                  </a:txBody>
                  <a:tcPr marL="12307" marR="12307" marT="11360" marB="11360" anchor="ctr">
                    <a:lnL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8E8E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8" name="Нижний колонтитул 3"/>
          <p:cNvSpPr txBox="1">
            <a:spLocks/>
          </p:cNvSpPr>
          <p:nvPr/>
        </p:nvSpPr>
        <p:spPr>
          <a:xfrm>
            <a:off x="287666" y="6248070"/>
            <a:ext cx="6417933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>
              <a:defRPr lang="ru-RU" sz="800" i="0" dirty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xcel: </a:t>
            </a:r>
            <a:r>
              <a:rPr lang="ru-RU" dirty="0"/>
              <a:t>Анализ данных</a:t>
            </a:r>
          </a:p>
        </p:txBody>
      </p:sp>
    </p:spTree>
    <p:extLst>
      <p:ext uri="{BB962C8B-B14F-4D97-AF65-F5344CB8AC3E}">
        <p14:creationId xmlns:p14="http://schemas.microsoft.com/office/powerpoint/2010/main" val="1954901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91424" bIns="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ru-RU" sz="2600" b="1" dirty="0" smtClean="0">
              <a:solidFill>
                <a:schemeClr val="accent1"/>
              </a:solidFill>
              <a:latin typeface="Arial"/>
              <a:cs typeface="Arial"/>
            </a:endParaRPr>
          </a:p>
          <a:p>
            <a:pPr algn="ctr"/>
            <a:endParaRPr lang="ru-RU" sz="2600" b="1" dirty="0">
              <a:solidFill>
                <a:schemeClr val="accent1"/>
              </a:solidFill>
              <a:latin typeface="Arial"/>
              <a:cs typeface="Arial"/>
            </a:endParaRPr>
          </a:p>
          <a:p>
            <a:pPr algn="ctr"/>
            <a:r>
              <a:rPr lang="ru-RU" sz="2600" b="1" dirty="0" smtClean="0">
                <a:solidFill>
                  <a:schemeClr val="accent1"/>
                </a:solidFill>
                <a:latin typeface="Arial"/>
                <a:cs typeface="Arial"/>
              </a:rPr>
              <a:t>СПАСИБО </a:t>
            </a:r>
            <a:r>
              <a:rPr lang="ru-RU" sz="2600" b="1" dirty="0">
                <a:solidFill>
                  <a:schemeClr val="accent1"/>
                </a:solidFill>
                <a:latin typeface="Arial"/>
                <a:cs typeface="Arial"/>
              </a:rPr>
              <a:t>ЗА ВНИМАНИЕ</a:t>
            </a:r>
            <a:r>
              <a:rPr lang="ru-RU" sz="2600" b="1" dirty="0" smtClean="0">
                <a:solidFill>
                  <a:schemeClr val="accent1"/>
                </a:solidFill>
                <a:latin typeface="Arial"/>
                <a:cs typeface="Arial"/>
              </a:rPr>
              <a:t>!</a:t>
            </a:r>
          </a:p>
          <a:p>
            <a:pPr algn="ctr"/>
            <a:endParaRPr lang="ru-RU" sz="2600" b="1" dirty="0">
              <a:solidFill>
                <a:schemeClr val="accent1"/>
              </a:solidFill>
              <a:latin typeface="Arial"/>
              <a:cs typeface="Arial"/>
            </a:endParaRPr>
          </a:p>
          <a:p>
            <a:pPr algn="ctr"/>
            <a:endParaRPr lang="ru-RU" sz="2600" b="1" dirty="0" smtClean="0">
              <a:solidFill>
                <a:schemeClr val="accent1"/>
              </a:solidFill>
              <a:latin typeface="Arial"/>
              <a:cs typeface="Arial"/>
            </a:endParaRPr>
          </a:p>
          <a:p>
            <a:endParaRPr lang="ru-RU" sz="1200" dirty="0" smtClean="0">
              <a:solidFill>
                <a:schemeClr val="accent1"/>
              </a:solidFill>
              <a:latin typeface="Arial"/>
              <a:cs typeface="Arial"/>
            </a:endParaRPr>
          </a:p>
          <a:p>
            <a:endParaRPr lang="ru-RU" sz="1200" dirty="0">
              <a:solidFill>
                <a:schemeClr val="accent1"/>
              </a:solidFill>
              <a:latin typeface="Arial"/>
              <a:cs typeface="Arial"/>
            </a:endParaRPr>
          </a:p>
          <a:p>
            <a:endParaRPr lang="ru-RU" sz="1200" dirty="0" smtClean="0">
              <a:solidFill>
                <a:schemeClr val="accent1"/>
              </a:solidFill>
              <a:latin typeface="Arial"/>
              <a:cs typeface="Arial"/>
            </a:endParaRPr>
          </a:p>
          <a:p>
            <a:endParaRPr lang="ru-RU" sz="1200" dirty="0">
              <a:solidFill>
                <a:schemeClr val="accent1"/>
              </a:solidFill>
              <a:latin typeface="Arial"/>
              <a:cs typeface="Arial"/>
            </a:endParaRPr>
          </a:p>
          <a:p>
            <a:endParaRPr lang="ru-RU" sz="1200" dirty="0" smtClean="0">
              <a:solidFill>
                <a:schemeClr val="accent1"/>
              </a:solidFill>
              <a:latin typeface="Arial"/>
              <a:cs typeface="Arial"/>
            </a:endParaRPr>
          </a:p>
          <a:p>
            <a:endParaRPr lang="ru-RU" sz="1200" dirty="0">
              <a:solidFill>
                <a:schemeClr val="accent1"/>
              </a:solidFill>
              <a:latin typeface="Arial"/>
              <a:cs typeface="Arial"/>
            </a:endParaRPr>
          </a:p>
          <a:p>
            <a:endParaRPr lang="ru-RU" sz="1200" dirty="0" smtClean="0">
              <a:solidFill>
                <a:schemeClr val="accent1"/>
              </a:solidFill>
              <a:latin typeface="Arial"/>
              <a:cs typeface="Arial"/>
            </a:endParaRPr>
          </a:p>
          <a:p>
            <a:endParaRPr lang="ru-RU" sz="1200" dirty="0">
              <a:solidFill>
                <a:schemeClr val="accent1"/>
              </a:solidFill>
              <a:latin typeface="Arial"/>
              <a:cs typeface="Arial"/>
            </a:endParaRPr>
          </a:p>
          <a:p>
            <a:endParaRPr lang="ru-RU" sz="1200" dirty="0" smtClean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Excel</a:t>
            </a:r>
            <a:r>
              <a:rPr lang="ru-RU" dirty="0">
                <a:solidFill>
                  <a:schemeClr val="accent1"/>
                </a:solidFill>
              </a:rPr>
              <a:t>: Анализ данных</a:t>
            </a:r>
          </a:p>
        </p:txBody>
      </p:sp>
      <p:sp>
        <p:nvSpPr>
          <p:cNvPr id="6" name="Нижний колонтитул 3"/>
          <p:cNvSpPr txBox="1">
            <a:spLocks/>
          </p:cNvSpPr>
          <p:nvPr/>
        </p:nvSpPr>
        <p:spPr>
          <a:xfrm>
            <a:off x="287666" y="6248070"/>
            <a:ext cx="6417933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>
              <a:defRPr lang="ru-RU" sz="800" i="0" dirty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Excel: </a:t>
            </a:r>
            <a:r>
              <a:rPr lang="ru-RU" dirty="0"/>
              <a:t>Анализ данных</a:t>
            </a:r>
          </a:p>
        </p:txBody>
      </p:sp>
    </p:spTree>
    <p:extLst>
      <p:ext uri="{BB962C8B-B14F-4D97-AF65-F5344CB8AC3E}">
        <p14:creationId xmlns:p14="http://schemas.microsoft.com/office/powerpoint/2010/main" val="4259418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9621328" cy="703263"/>
          </a:xfrm>
        </p:spPr>
        <p:txBody>
          <a:bodyPr/>
          <a:lstStyle/>
          <a:p>
            <a:r>
              <a:rPr lang="ru-RU" sz="2400" b="1" dirty="0" smtClean="0"/>
              <a:t>Сводные таблицы: </a:t>
            </a:r>
            <a:r>
              <a:rPr lang="ru-RU" sz="2400" dirty="0" smtClean="0"/>
              <a:t>что это?</a:t>
            </a:r>
            <a:endParaRPr lang="ru-RU" sz="2400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200473" y="1340768"/>
            <a:ext cx="9217023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600" dirty="0"/>
          </a:p>
          <a:p>
            <a:r>
              <a:rPr lang="ru-RU" sz="1600" b="1" dirty="0"/>
              <a:t>Сводные таблицы </a:t>
            </a:r>
            <a:r>
              <a:rPr lang="ru-RU" sz="1600" dirty="0"/>
              <a:t>– это инструмент отображения данных в интерактивном виде. 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dirty="0" smtClean="0"/>
              <a:t>Они </a:t>
            </a:r>
            <a:r>
              <a:rPr lang="ru-RU" sz="1600" dirty="0"/>
              <a:t>позволяют перевести нескончаемые строки и колонки с данными в 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dirty="0" smtClean="0"/>
              <a:t>удобочитаемый </a:t>
            </a:r>
            <a:r>
              <a:rPr lang="ru-RU" sz="1600" dirty="0"/>
              <a:t>презентабельный вид. Вы можете группировать пункты, например, 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dirty="0" smtClean="0"/>
              <a:t>объединить </a:t>
            </a:r>
            <a:r>
              <a:rPr lang="ru-RU" sz="1600" dirty="0"/>
              <a:t>регионы страны по округам, фильтровать полученные результаты, 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dirty="0" smtClean="0"/>
              <a:t>изменять </a:t>
            </a:r>
            <a:r>
              <a:rPr lang="ru-RU" sz="1600" dirty="0"/>
              <a:t>внешний вид и вставлять специальные формулы, которые будут 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dirty="0" smtClean="0"/>
              <a:t>выполнять </a:t>
            </a:r>
            <a:r>
              <a:rPr lang="ru-RU" sz="1600" dirty="0"/>
              <a:t>новые расчеты.</a:t>
            </a:r>
          </a:p>
          <a:p>
            <a:endParaRPr lang="ru-RU" sz="1600" dirty="0"/>
          </a:p>
          <a:p>
            <a:r>
              <a:rPr lang="ru-RU" sz="1600" dirty="0"/>
              <a:t>Сводные таблицы получили такое название от своей возможности интерактивного 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dirty="0" smtClean="0"/>
              <a:t>перетаскивания </a:t>
            </a:r>
            <a:r>
              <a:rPr lang="ru-RU" sz="1600" dirty="0"/>
              <a:t>полей, что позволяет динамически изменять внешний вид, 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dirty="0" smtClean="0"/>
              <a:t>давая </a:t>
            </a:r>
            <a:r>
              <a:rPr lang="ru-RU" sz="1600" dirty="0"/>
              <a:t>вам совершенно новый ракурс, используя тот же источник данных. Обратите 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dirty="0" smtClean="0"/>
              <a:t>внимание</a:t>
            </a:r>
            <a:r>
              <a:rPr lang="ru-RU" sz="1600" dirty="0"/>
              <a:t>, что при этом исходные данные сами по себе не меняются и не зависят 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dirty="0" smtClean="0"/>
              <a:t>от </a:t>
            </a:r>
            <a:r>
              <a:rPr lang="ru-RU" sz="1600" dirty="0"/>
              <a:t>того, какой вид отображения вы выберете.</a:t>
            </a:r>
          </a:p>
          <a:p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898146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9621328" cy="703263"/>
          </a:xfrm>
        </p:spPr>
        <p:txBody>
          <a:bodyPr/>
          <a:lstStyle/>
          <a:p>
            <a:r>
              <a:rPr lang="ru-RU" sz="2400" b="1" dirty="0" smtClean="0"/>
              <a:t>Сводные таблицы: </a:t>
            </a:r>
            <a:r>
              <a:rPr lang="ru-RU" sz="2400" dirty="0" smtClean="0"/>
              <a:t>создание сводной таблицы</a:t>
            </a:r>
            <a:endParaRPr lang="ru-RU" sz="2400" dirty="0"/>
          </a:p>
        </p:txBody>
      </p:sp>
      <p:sp>
        <p:nvSpPr>
          <p:cNvPr id="7" name="TextBox 6"/>
          <p:cNvSpPr txBox="1"/>
          <p:nvPr/>
        </p:nvSpPr>
        <p:spPr>
          <a:xfrm>
            <a:off x="185874" y="1040375"/>
            <a:ext cx="92170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1600" dirty="0" smtClean="0"/>
              <a:t>Создаем сводную таблицу на основании данных вкладки «1.Сводные таблицы».</a:t>
            </a:r>
          </a:p>
          <a:p>
            <a:pPr marL="342900" indent="-342900">
              <a:buAutoNum type="arabicPeriod"/>
            </a:pPr>
            <a:r>
              <a:rPr lang="ru-RU" sz="1600" dirty="0" smtClean="0"/>
              <a:t>Расставляем поля следующим образом:</a:t>
            </a:r>
          </a:p>
          <a:p>
            <a:endParaRPr lang="ru-RU" sz="1600" dirty="0"/>
          </a:p>
        </p:txBody>
      </p:sp>
      <p:pic>
        <p:nvPicPr>
          <p:cNvPr id="12800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585" t="21032" b="8333"/>
          <a:stretch/>
        </p:blipFill>
        <p:spPr bwMode="auto">
          <a:xfrm>
            <a:off x="5183977" y="1412776"/>
            <a:ext cx="4218920" cy="4817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7" name="Прямая со стрелкой 26"/>
          <p:cNvCxnSpPr/>
          <p:nvPr/>
        </p:nvCxnSpPr>
        <p:spPr bwMode="auto">
          <a:xfrm>
            <a:off x="6105128" y="2384881"/>
            <a:ext cx="2016224" cy="2916329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 стрелкой 28"/>
          <p:cNvCxnSpPr/>
          <p:nvPr/>
        </p:nvCxnSpPr>
        <p:spPr bwMode="auto">
          <a:xfrm>
            <a:off x="6257528" y="2204864"/>
            <a:ext cx="1863824" cy="2304256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 стрелкой 30"/>
          <p:cNvCxnSpPr/>
          <p:nvPr/>
        </p:nvCxnSpPr>
        <p:spPr bwMode="auto">
          <a:xfrm>
            <a:off x="6177136" y="3356990"/>
            <a:ext cx="432048" cy="1944218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531216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9621328" cy="703263"/>
          </a:xfrm>
        </p:spPr>
        <p:txBody>
          <a:bodyPr/>
          <a:lstStyle/>
          <a:p>
            <a:r>
              <a:rPr lang="ru-RU" sz="2400" b="1" dirty="0" smtClean="0"/>
              <a:t>Сводные таблицы: </a:t>
            </a:r>
            <a:r>
              <a:rPr lang="ru-RU" sz="2400" dirty="0" smtClean="0"/>
              <a:t>группировка дат</a:t>
            </a:r>
            <a:endParaRPr lang="ru-RU" sz="2400" dirty="0"/>
          </a:p>
        </p:txBody>
      </p:sp>
      <p:pic>
        <p:nvPicPr>
          <p:cNvPr id="129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104" r="75980" b="9142"/>
          <a:stretch/>
        </p:blipFill>
        <p:spPr bwMode="auto">
          <a:xfrm>
            <a:off x="200471" y="1345483"/>
            <a:ext cx="3384377" cy="4891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 bwMode="auto">
          <a:xfrm>
            <a:off x="746305" y="4493571"/>
            <a:ext cx="2838543" cy="325552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29027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35" t="38433" r="72448" b="20709"/>
          <a:stretch/>
        </p:blipFill>
        <p:spPr bwMode="auto">
          <a:xfrm>
            <a:off x="4920405" y="941176"/>
            <a:ext cx="2160240" cy="272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 bwMode="auto">
          <a:xfrm>
            <a:off x="5529064" y="3284984"/>
            <a:ext cx="720080" cy="299192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Стрелка вправо 8"/>
          <p:cNvSpPr/>
          <p:nvPr/>
        </p:nvSpPr>
        <p:spPr bwMode="auto">
          <a:xfrm>
            <a:off x="3872880" y="1556792"/>
            <a:ext cx="792088" cy="432048"/>
          </a:xfrm>
          <a:prstGeom prst="rightArrow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0" name="Рисунок 9" descr="Вырезка экрана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9511" y="4656347"/>
            <a:ext cx="3391374" cy="1305107"/>
          </a:xfrm>
          <a:prstGeom prst="rect">
            <a:avLst/>
          </a:prstGeom>
        </p:spPr>
      </p:pic>
      <p:sp>
        <p:nvSpPr>
          <p:cNvPr id="14" name="Стрелка вправо 13"/>
          <p:cNvSpPr/>
          <p:nvPr/>
        </p:nvSpPr>
        <p:spPr bwMode="auto">
          <a:xfrm rot="5400000">
            <a:off x="5536376" y="3940513"/>
            <a:ext cx="792088" cy="432048"/>
          </a:xfrm>
          <a:prstGeom prst="rightArrow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66676" y="699152"/>
            <a:ext cx="92170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Нажмем на любую дату </a:t>
            </a:r>
          </a:p>
          <a:p>
            <a:r>
              <a:rPr lang="ru-RU" sz="1600" dirty="0" smtClean="0"/>
              <a:t>правой кнопкой мыши:</a:t>
            </a:r>
            <a:endParaRPr lang="ru-RU" sz="1600" dirty="0"/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7905328" y="3393484"/>
            <a:ext cx="1838411" cy="1108735"/>
          </a:xfrm>
          <a:prstGeom prst="rect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latin typeface="Arial" charset="0"/>
              </a:rPr>
              <a:t>Поле с суммой автоматически рассчитывается при группировке</a:t>
            </a:r>
            <a:endParaRPr lang="ru-RU" sz="1600" dirty="0">
              <a:latin typeface="Arial" charset="0"/>
            </a:endParaRPr>
          </a:p>
        </p:txBody>
      </p:sp>
      <p:cxnSp>
        <p:nvCxnSpPr>
          <p:cNvPr id="17" name="Прямая со стрелкой 16"/>
          <p:cNvCxnSpPr>
            <a:stCxn id="13" idx="2"/>
          </p:cNvCxnSpPr>
          <p:nvPr/>
        </p:nvCxnSpPr>
        <p:spPr bwMode="auto">
          <a:xfrm flipH="1">
            <a:off x="8184911" y="4502219"/>
            <a:ext cx="639623" cy="58296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369527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9621328" cy="703263"/>
          </a:xfrm>
        </p:spPr>
        <p:txBody>
          <a:bodyPr/>
          <a:lstStyle/>
          <a:p>
            <a:r>
              <a:rPr lang="ru-RU" sz="2400" b="1" dirty="0" smtClean="0"/>
              <a:t>Сводные таблицы: </a:t>
            </a:r>
            <a:r>
              <a:rPr lang="ru-RU" sz="2400" dirty="0" smtClean="0"/>
              <a:t>группировка дат</a:t>
            </a:r>
            <a:endParaRPr lang="ru-RU" sz="2400" dirty="0"/>
          </a:p>
        </p:txBody>
      </p:sp>
      <p:pic>
        <p:nvPicPr>
          <p:cNvPr id="7" name="Рисунок 6" descr="Группирование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544" y="1985760"/>
            <a:ext cx="2880320" cy="3651619"/>
          </a:xfrm>
          <a:prstGeom prst="rect">
            <a:avLst/>
          </a:prstGeom>
        </p:spPr>
      </p:pic>
      <p:pic>
        <p:nvPicPr>
          <p:cNvPr id="9" name="Рисунок 8" descr="Вырезка экрана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6756" y="2104840"/>
            <a:ext cx="4181488" cy="3340384"/>
          </a:xfrm>
          <a:prstGeom prst="rect">
            <a:avLst/>
          </a:prstGeom>
        </p:spPr>
      </p:pic>
      <p:sp>
        <p:nvSpPr>
          <p:cNvPr id="10" name="Стрелка вправо 9"/>
          <p:cNvSpPr/>
          <p:nvPr/>
        </p:nvSpPr>
        <p:spPr bwMode="auto">
          <a:xfrm>
            <a:off x="3872880" y="3501008"/>
            <a:ext cx="792088" cy="432048"/>
          </a:xfrm>
          <a:prstGeom prst="rightArrow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1600498" y="5146031"/>
            <a:ext cx="1048246" cy="491347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1064568" y="4077072"/>
            <a:ext cx="2304256" cy="432048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66675" y="1196752"/>
            <a:ext cx="92170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Группировка удобна тем, что мы можем выбирать несколько параметров: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248126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9621328" cy="703263"/>
          </a:xfrm>
        </p:spPr>
        <p:txBody>
          <a:bodyPr/>
          <a:lstStyle/>
          <a:p>
            <a:r>
              <a:rPr lang="ru-RU" sz="2400" b="1" dirty="0" smtClean="0"/>
              <a:t>Сводные таблицы: </a:t>
            </a:r>
            <a:r>
              <a:rPr lang="ru-RU" sz="2400" dirty="0" smtClean="0"/>
              <a:t>произвольная группировка</a:t>
            </a:r>
            <a:endParaRPr lang="ru-RU" sz="2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72480" y="908720"/>
            <a:ext cx="4464496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На самом деле группировать в сводных таблицах можно практически все, а не только числа или </a:t>
            </a:r>
            <a:r>
              <a:rPr lang="ru-RU" sz="1600" dirty="0" smtClean="0"/>
              <a:t>текст. </a:t>
            </a:r>
            <a:r>
              <a:rPr lang="ru-RU" sz="1600" dirty="0"/>
              <a:t>Группировка может быть совершенно произвольной и производиться даже с текстовыми данными. Если выделить в сводной таблице несколько значений в области строк или столбцов и щелкнуть по ним правой кнопкой мыши, то можно воспользоваться командой </a:t>
            </a:r>
            <a:r>
              <a:rPr lang="ru-RU" sz="1600" dirty="0" smtClean="0"/>
              <a:t>группировки. </a:t>
            </a:r>
          </a:p>
          <a:p>
            <a:endParaRPr lang="ru-RU" sz="1600" dirty="0" smtClean="0"/>
          </a:p>
          <a:p>
            <a:r>
              <a:rPr lang="ru-RU" sz="1600" dirty="0" smtClean="0"/>
              <a:t>Для того, чтобы рассмотреть данный вид группировки, нам необходимо изменить поля сводной таблицы, поместив в название строк «Наименование».</a:t>
            </a:r>
            <a:endParaRPr lang="ru-RU" sz="1600" dirty="0"/>
          </a:p>
        </p:txBody>
      </p:sp>
      <p:pic>
        <p:nvPicPr>
          <p:cNvPr id="8" name="Рисунок 7" descr="Вырезка экрана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5339" y="837784"/>
            <a:ext cx="3960440" cy="5328592"/>
          </a:xfrm>
          <a:prstGeom prst="rect">
            <a:avLst/>
          </a:prstGeom>
        </p:spPr>
      </p:pic>
      <p:cxnSp>
        <p:nvCxnSpPr>
          <p:cNvPr id="9" name="Прямая со стрелкой 8"/>
          <p:cNvCxnSpPr/>
          <p:nvPr/>
        </p:nvCxnSpPr>
        <p:spPr bwMode="auto">
          <a:xfrm>
            <a:off x="6465168" y="1738419"/>
            <a:ext cx="1656184" cy="2410661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 стрелкой 11"/>
          <p:cNvCxnSpPr/>
          <p:nvPr/>
        </p:nvCxnSpPr>
        <p:spPr bwMode="auto">
          <a:xfrm>
            <a:off x="6321152" y="1890819"/>
            <a:ext cx="1368152" cy="319436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Соединительная линия уступом 14"/>
          <p:cNvCxnSpPr/>
          <p:nvPr/>
        </p:nvCxnSpPr>
        <p:spPr bwMode="auto">
          <a:xfrm rot="16200000" flipH="1">
            <a:off x="3726021" y="3066115"/>
            <a:ext cx="3600397" cy="437737"/>
          </a:xfrm>
          <a:prstGeom prst="bentConnector3">
            <a:avLst>
              <a:gd name="adj1" fmla="val 54928"/>
            </a:avLst>
          </a:prstGeom>
          <a:solidFill>
            <a:schemeClr val="accent1"/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единительная линия 21"/>
          <p:cNvCxnSpPr/>
          <p:nvPr/>
        </p:nvCxnSpPr>
        <p:spPr bwMode="auto">
          <a:xfrm>
            <a:off x="5312354" y="1484784"/>
            <a:ext cx="120952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906649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9621328" cy="703263"/>
          </a:xfrm>
        </p:spPr>
        <p:txBody>
          <a:bodyPr/>
          <a:lstStyle/>
          <a:p>
            <a:r>
              <a:rPr lang="ru-RU" sz="2400" b="1" dirty="0" smtClean="0"/>
              <a:t>Сводные таблицы: </a:t>
            </a:r>
            <a:r>
              <a:rPr lang="ru-RU" sz="2400" dirty="0" smtClean="0"/>
              <a:t>произвольная группировка</a:t>
            </a:r>
            <a:endParaRPr lang="ru-RU" sz="2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72480" y="908720"/>
            <a:ext cx="943304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Произведем небольшую подготовку: Конструктор – Макет отчета – Показать в табличной форме:  </a:t>
            </a:r>
            <a:endParaRPr lang="ru-RU" sz="1600" dirty="0"/>
          </a:p>
        </p:txBody>
      </p:sp>
      <p:pic>
        <p:nvPicPr>
          <p:cNvPr id="13005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35" t="6006" r="69789" b="66721"/>
          <a:stretch/>
        </p:blipFill>
        <p:spPr bwMode="auto">
          <a:xfrm>
            <a:off x="2360712" y="1267510"/>
            <a:ext cx="2481942" cy="1995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272480" y="3358331"/>
            <a:ext cx="94330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Затем выделим наименования, которые хотим сгруппировать, например, Весы+Кофеварка+Кофемолка+Кухонный комбайн, после нажмем правой кнопкой мыши на выделенный объект и выберем «Группировать».</a:t>
            </a:r>
            <a:endParaRPr lang="ru-RU" sz="1600" dirty="0"/>
          </a:p>
        </p:txBody>
      </p:sp>
      <p:pic>
        <p:nvPicPr>
          <p:cNvPr id="2" name="Рисунок 1" descr="Вырезка экрана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927" y="4281661"/>
            <a:ext cx="4410691" cy="1171739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272480" y="5601739"/>
            <a:ext cx="943304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Данной группе можно давать произвольное название. Остальные наименование можно также разбить на группы, которые вам будут удобны.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976991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cel: </a:t>
            </a:r>
            <a:r>
              <a:rPr lang="ru-RU" smtClean="0"/>
              <a:t>Анализ данных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9621328" cy="703263"/>
          </a:xfrm>
        </p:spPr>
        <p:txBody>
          <a:bodyPr/>
          <a:lstStyle/>
          <a:p>
            <a:r>
              <a:rPr lang="ru-RU" sz="2400" b="1" dirty="0" smtClean="0"/>
              <a:t>Сводные таблицы: </a:t>
            </a:r>
            <a:r>
              <a:rPr lang="ru-RU" sz="2400" dirty="0" smtClean="0"/>
              <a:t>вычисления</a:t>
            </a:r>
            <a:endParaRPr lang="ru-RU" sz="24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272480" y="692696"/>
            <a:ext cx="46805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Чтобы рассмотреть примеры вычислений в сводных таблицах, расположим поля следующим образом:</a:t>
            </a:r>
            <a:endParaRPr lang="ru-RU" sz="1600" dirty="0"/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585" t="21032" b="8333"/>
          <a:stretch/>
        </p:blipFill>
        <p:spPr bwMode="auto">
          <a:xfrm>
            <a:off x="344488" y="1628800"/>
            <a:ext cx="4218920" cy="4817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Прямая со стрелкой 19"/>
          <p:cNvCxnSpPr/>
          <p:nvPr/>
        </p:nvCxnSpPr>
        <p:spPr bwMode="auto">
          <a:xfrm>
            <a:off x="1265639" y="2600905"/>
            <a:ext cx="2016224" cy="2916329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 стрелкой 20"/>
          <p:cNvCxnSpPr/>
          <p:nvPr/>
        </p:nvCxnSpPr>
        <p:spPr bwMode="auto">
          <a:xfrm>
            <a:off x="1418039" y="2420888"/>
            <a:ext cx="1863824" cy="2304256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 стрелкой 21"/>
          <p:cNvCxnSpPr/>
          <p:nvPr/>
        </p:nvCxnSpPr>
        <p:spPr bwMode="auto">
          <a:xfrm>
            <a:off x="1337647" y="3573014"/>
            <a:ext cx="432048" cy="1944218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Стрелка вправо 22"/>
          <p:cNvSpPr/>
          <p:nvPr/>
        </p:nvSpPr>
        <p:spPr bwMode="auto">
          <a:xfrm>
            <a:off x="4664968" y="3501008"/>
            <a:ext cx="792088" cy="432048"/>
          </a:xfrm>
          <a:prstGeom prst="rightArrow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4" name="Рисунок 23" descr="Вырезка экрана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080" y="2852936"/>
            <a:ext cx="3696216" cy="2896004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5673080" y="1814930"/>
            <a:ext cx="36962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Применив уже известный нам прием группировки, получаем следующую таблицу: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865553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121212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4</TotalTime>
  <Words>2907</Words>
  <Application>Microsoft Office PowerPoint</Application>
  <PresentationFormat>Лист A4 (210x297 мм)</PresentationFormat>
  <Paragraphs>416</Paragraphs>
  <Slides>2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35" baseType="lpstr">
      <vt:lpstr>Adobe Hebrew</vt:lpstr>
      <vt:lpstr>Arial</vt:lpstr>
      <vt:lpstr>Calibri</vt:lpstr>
      <vt:lpstr>Times New Roman</vt:lpstr>
      <vt:lpstr>Wingdings</vt:lpstr>
      <vt:lpstr>Default Theme</vt:lpstr>
      <vt:lpstr>think-cell Slide</vt:lpstr>
      <vt:lpstr>Excel: Анализ данных</vt:lpstr>
      <vt:lpstr>Презентация PowerPoint</vt:lpstr>
      <vt:lpstr>Сводные таблицы: что это?</vt:lpstr>
      <vt:lpstr>Сводные таблицы: создание сводной таблицы</vt:lpstr>
      <vt:lpstr>Сводные таблицы: группировка дат</vt:lpstr>
      <vt:lpstr>Сводные таблицы: группировка дат</vt:lpstr>
      <vt:lpstr>Сводные таблицы: произвольная группировка</vt:lpstr>
      <vt:lpstr>Сводные таблицы: произвольная группировка</vt:lpstr>
      <vt:lpstr>Сводные таблицы: вычисления</vt:lpstr>
      <vt:lpstr>Сводные таблицы: вычисления</vt:lpstr>
      <vt:lpstr>Сводные таблицы: вычисления</vt:lpstr>
      <vt:lpstr>Работа с датами: особенности</vt:lpstr>
      <vt:lpstr>Работа с датами: особенности</vt:lpstr>
      <vt:lpstr>Текстовые функции: особенности</vt:lpstr>
      <vt:lpstr>Текстовые функции: особенности</vt:lpstr>
      <vt:lpstr>Анализ данных: Что если</vt:lpstr>
      <vt:lpstr>Анализ данных: Что если – подбор параметра</vt:lpstr>
      <vt:lpstr>Анализ данных: Что если – диспетчер сценариев</vt:lpstr>
      <vt:lpstr>Анализ данных: Что если – диспетчер сценариев</vt:lpstr>
      <vt:lpstr>Анализ данных: Что если – таблица данных</vt:lpstr>
      <vt:lpstr>Анализ данных: Что если – таблица данных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аланов Денис Алексеевич</dc:creator>
  <cp:lastModifiedBy>Змитрович Людмила Александровна</cp:lastModifiedBy>
  <cp:revision>76</cp:revision>
  <dcterms:created xsi:type="dcterms:W3CDTF">2018-09-27T11:15:38Z</dcterms:created>
  <dcterms:modified xsi:type="dcterms:W3CDTF">2021-04-15T06:15:28Z</dcterms:modified>
</cp:coreProperties>
</file>